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6"/>
  </p:notesMasterIdLst>
  <p:sldIdLst>
    <p:sldId id="261" r:id="rId3"/>
    <p:sldId id="278" r:id="rId4"/>
    <p:sldId id="263" r:id="rId5"/>
    <p:sldId id="291" r:id="rId6"/>
    <p:sldId id="286" r:id="rId7"/>
    <p:sldId id="312" r:id="rId8"/>
    <p:sldId id="303" r:id="rId9"/>
    <p:sldId id="302" r:id="rId10"/>
    <p:sldId id="305" r:id="rId11"/>
    <p:sldId id="298" r:id="rId12"/>
    <p:sldId id="304" r:id="rId13"/>
    <p:sldId id="292" r:id="rId14"/>
    <p:sldId id="314" r:id="rId15"/>
    <p:sldId id="307" r:id="rId16"/>
    <p:sldId id="315" r:id="rId17"/>
    <p:sldId id="317" r:id="rId18"/>
    <p:sldId id="316" r:id="rId19"/>
    <p:sldId id="308" r:id="rId20"/>
    <p:sldId id="319" r:id="rId21"/>
    <p:sldId id="318" r:id="rId22"/>
    <p:sldId id="301" r:id="rId23"/>
    <p:sldId id="281" r:id="rId24"/>
    <p:sldId id="288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96" userDrawn="1">
          <p15:clr>
            <a:srgbClr val="A4A3A4"/>
          </p15:clr>
        </p15:guide>
        <p15:guide id="4" orient="horz" pos="4224" userDrawn="1">
          <p15:clr>
            <a:srgbClr val="A4A3A4"/>
          </p15:clr>
        </p15:guide>
        <p15:guide id="5" pos="96" userDrawn="1">
          <p15:clr>
            <a:srgbClr val="A4A3A4"/>
          </p15:clr>
        </p15:guide>
        <p15:guide id="6" pos="7584" userDrawn="1">
          <p15:clr>
            <a:srgbClr val="A4A3A4"/>
          </p15:clr>
        </p15:guide>
        <p15:guide id="7" orient="horz" pos="572" userDrawn="1">
          <p15:clr>
            <a:srgbClr val="A4A3A4"/>
          </p15:clr>
        </p15:guide>
        <p15:guide id="8" orient="horz" pos="3936" userDrawn="1">
          <p15:clr>
            <a:srgbClr val="A4A3A4"/>
          </p15:clr>
        </p15:guide>
        <p15:guide id="9" pos="4430" userDrawn="1">
          <p15:clr>
            <a:srgbClr val="A4A3A4"/>
          </p15:clr>
        </p15:guide>
        <p15:guide id="10" pos="326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5BF3"/>
    <a:srgbClr val="B0E69A"/>
    <a:srgbClr val="285472"/>
    <a:srgbClr val="0ABAE4"/>
    <a:srgbClr val="52B0BC"/>
    <a:srgbClr val="D63A31"/>
    <a:srgbClr val="000000"/>
    <a:srgbClr val="089DC0"/>
    <a:srgbClr val="8AD607"/>
    <a:srgbClr val="066F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Style moyen 3 - 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814" autoAdjust="0"/>
    <p:restoredTop sz="95232" autoAdjust="0"/>
  </p:normalViewPr>
  <p:slideViewPr>
    <p:cSldViewPr snapToGrid="0" showGuides="1">
      <p:cViewPr varScale="1">
        <p:scale>
          <a:sx n="70" d="100"/>
          <a:sy n="70" d="100"/>
        </p:scale>
        <p:origin x="546" y="72"/>
      </p:cViewPr>
      <p:guideLst>
        <p:guide pos="3840"/>
        <p:guide orient="horz" pos="96"/>
        <p:guide orient="horz" pos="4224"/>
        <p:guide pos="96"/>
        <p:guide pos="7584"/>
        <p:guide orient="horz" pos="572"/>
        <p:guide orient="horz" pos="3936"/>
        <p:guide pos="4430"/>
        <p:guide pos="326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54805288782073"/>
          <c:y val="7.5973751877662365E-2"/>
          <c:w val="0.51694530726543186"/>
          <c:h val="0.7864687707285374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D63A31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E0D-44EF-8F9C-18C571EAA87C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E0D-44EF-8F9C-18C571EAA87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E0D-44EF-8F9C-18C571EAA8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1B246A-1D64-468C-9778-10DBD9E6F9AA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9E6CFE-A185-467F-9B7E-E73E8B81A13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9009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6CDBC-8E74-4D41-8FD1-7E7D44F4E0D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7041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6CDBC-8E74-4D41-8FD1-7E7D44F4E0D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515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2D31020-5F36-44C3-8688-88AE50D1C4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860EC370-CA38-4B27-A6B7-5F4A91E400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B5B22E6B-B98B-4749-B5C5-E56A217F88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F5B4-ED8E-4711-B77D-59892F9072F0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E5CB6BA-E80D-4B6C-A1C4-3E5F8015D7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778C54A0-22C3-4592-9FFE-54484F8505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F9A1C6-55F1-4721-BB7F-03F287F26B3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055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04C7563-E41B-4AF5-A72F-6242CA703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5DF5E8F7-0FEC-4BBE-B080-7303AB074F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01309C0F-3CAE-4370-8AC6-FDB3018357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F5B4-ED8E-4711-B77D-59892F9072F0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9316C64-7061-4BB7-AF5E-EB5AADD80E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212E024-8EB9-4C1F-B2CE-24615122D2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F9A1C6-55F1-4721-BB7F-03F287F26B3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9710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D74D249B-79B8-446E-938A-48B5E1D88B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07BF68EF-C731-4522-9EDA-F35AD3ED50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ED68AEFD-9B91-4D9D-B365-542F80E137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F5B4-ED8E-4711-B77D-59892F9072F0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FBE562C-7CE8-4F07-9A2C-27FC3DBE8B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879E442F-DE92-4483-9660-3585438084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F9A1C6-55F1-4721-BB7F-03F287F26B3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3846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/>
          </p:cNvSpPr>
          <p:nvPr userDrawn="1"/>
        </p:nvSpPr>
        <p:spPr bwMode="auto">
          <a:xfrm>
            <a:off x="0" y="-639708"/>
            <a:ext cx="12192001" cy="809937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794000" y="360971"/>
            <a:ext cx="6604000" cy="535531"/>
          </a:xfrm>
        </p:spPr>
        <p:txBody>
          <a:bodyPr wrap="square" anchor="t">
            <a:spAutoFit/>
          </a:bodyPr>
          <a:lstStyle>
            <a:lvl1pPr marL="0" indent="0" algn="ctr">
              <a:buNone/>
              <a:defRPr sz="3200" normalizeH="0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- Click to edit Master text styles -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9852138-FCC6-44DD-9FFC-1C789392E7AA}" type="datetime1">
              <a:rPr lang="en-US" smtClean="0"/>
              <a:t>12/14/2020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206E70-9524-410D-AE9B-78D656EAA14D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0237880" y="0"/>
            <a:ext cx="571500" cy="55562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10880817" y="0"/>
            <a:ext cx="571500" cy="55562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11523754" y="0"/>
            <a:ext cx="571500" cy="55562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534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/>
          </p:cNvSpPr>
          <p:nvPr userDrawn="1"/>
        </p:nvSpPr>
        <p:spPr bwMode="auto">
          <a:xfrm>
            <a:off x="0" y="-639708"/>
            <a:ext cx="12192001" cy="809937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857375" y="1014880"/>
            <a:ext cx="8380505" cy="400110"/>
          </a:xfrm>
        </p:spPr>
        <p:txBody>
          <a:bodyPr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</a:t>
            </a:r>
            <a:r>
              <a:rPr lang="en-US" dirty="0" err="1"/>
              <a:t>Ipsum</a:t>
            </a:r>
            <a:r>
              <a:rPr lang="en-US" dirty="0"/>
              <a:t> is simply dummy text of the printing and typesetting industry. Lorem </a:t>
            </a:r>
            <a:r>
              <a:rPr lang="en-US" dirty="0" err="1"/>
              <a:t>Ipsum</a:t>
            </a:r>
            <a:r>
              <a:rPr lang="en-US" dirty="0"/>
              <a:t> has been the industry's standard dummy text ever since the 1500s, when an unknown printer took a galley of type and scrambled it to make a type specimen book.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794000" y="360971"/>
            <a:ext cx="6604000" cy="535531"/>
          </a:xfrm>
        </p:spPr>
        <p:txBody>
          <a:bodyPr wrap="square" anchor="t">
            <a:spAutoFit/>
          </a:bodyPr>
          <a:lstStyle>
            <a:lvl1pPr marL="0" indent="0" algn="ctr">
              <a:buNone/>
              <a:defRPr sz="3200" normalizeH="0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- Click to edit Master text styles -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9852138-FCC6-44DD-9FFC-1C789392E7AA}" type="datetime1">
              <a:rPr lang="en-US" smtClean="0"/>
              <a:t>12/14/2020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206E70-9524-410D-AE9B-78D656EAA14D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0237880" y="0"/>
            <a:ext cx="571500" cy="55562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10880817" y="0"/>
            <a:ext cx="571500" cy="55562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11523754" y="0"/>
            <a:ext cx="571500" cy="55562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040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65D9AD9-16A1-4085-91D1-D2D97F6BCB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FD6B828E-1EE7-47B2-BAF5-363E38DA96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9FD0A16A-5AFB-43C1-814E-3CD9F43532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413CB282-2E3F-463F-A288-F584048273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69CF42D5-A270-4C30-8E64-B2A442EBF4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7271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264E04F-A5CA-4A22-A167-D31FB7AAC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DEF64680-5ADB-4FC1-9981-0BE26534CD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9D749EA3-6DA2-4364-8914-EAC2DA240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FE21550-F6A3-4734-9D4E-F569D688D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43FDE71-8B39-492D-99FE-4B030BBE1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3666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84520A6-9D8C-412C-9081-1D07C3DA0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4E125B6-634A-402F-97B2-1F174942FF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2456067-A2AD-4987-A98C-7CC6175948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B5E8EB9-BB0B-4AA7-9880-03DC076FB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EB2A91C-F8A6-4729-B6D5-0C3133206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0756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87FC6FD-EA64-4076-B817-6928C62859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CCF4CC0C-1AB3-4322-A74F-BCDAD66791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1CE44E6F-C2A9-4FE0-8C9D-B9B5221A0B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682A8B6F-9CF3-4D77-A3DB-1626BBB77D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255348CF-D378-48AD-BD2B-02995E199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5178E60E-3FD2-419F-A5CD-184EB85BB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06732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E3CC16C-1E8C-4B54-811E-DB90638DB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D592CE4-CB48-44D4-B68E-716A3FAD1B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292707B7-C4C1-4D17-AB68-A7CFDF5964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65F36FF-E201-4964-8DBC-C82E4F52E6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F7A98CB2-DCA6-419E-AE70-BFFB0D6E000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69933320-9BA4-4D32-BF55-98C096236F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4A3B5157-7FA1-4E6D-8CF8-5186357888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8DB70274-7B03-41E7-B764-A63885545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5743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CCE5BF7-7A28-4FF8-A122-417169D59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C06BA166-A168-4C57-AA60-7D67B6B602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929EEED-F079-4641-9E91-748EF82D91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02E531F-F906-497D-8D63-B42A3043D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83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7DED5D6-427E-4E24-B1A8-92E4A219D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7F7A99E5-E2EF-4BFC-A28C-EA77B5F8C0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62B4E25C-F202-4DB0-9BC4-E9E571756C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F5B4-ED8E-4711-B77D-59892F9072F0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F6BFEBB-4153-4BEB-B2D8-C53C8366D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14DC083-E5F6-41FF-B6EB-75BEB0CA2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F9A1C6-55F1-4721-BB7F-03F287F26B3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4004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D25F693D-FF20-4364-872C-B012D84EDB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D2BC05A-82DE-4F7C-AEC3-FF95092DAE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C9AB80C-567B-4F27-8746-36095D9F33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2052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AE3BDFC-2B2A-4840-B5C9-969A2893FC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9EB8D03-B688-4090-BD26-9FDCB13E8A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4720842-D509-4C34-9BBB-DA00A3AD30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5AF66575-FDD9-49A0-8196-64C14982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0ADDCB61-C652-4488-ABDB-247CFFC8F7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8C5D2286-6046-4320-9EC8-2BC23B7E6D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8184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2659C16-AF2D-4E9C-A82E-D02AFCA9B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46838BA6-8E0F-4447-B280-DDD3EA084D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1BE41354-D1C8-4200-9C6D-AB44A0A56E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9D497773-93A2-4481-B415-1351B6554C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38B46A95-3BAD-4299-9F62-073D542247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58DEC22D-8790-4A82-889A-1C076A879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2964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28751A1-ACCD-436E-85E9-45DD18AAC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5962C70C-6DAF-4CA0-AE58-D729B06182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D04726DA-3941-47F3-AC2D-49192026BD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1BD83F0-6A38-45F6-8D19-2A3A456E2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B89FCAB-A0EE-490F-8D1C-EB337D91B3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7996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EB8E5AD3-FCF7-48B6-B37A-D35E3EC12CE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8B755E47-3FA9-47D4-9A46-37DAA8B1765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B8AE0B0-A52A-4428-9B2A-E466AD06B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565E83C-D914-443C-85ED-440382AE0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4A850714-AC3E-490F-B218-1F6C5EFE6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77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2B7AA38-3B89-4364-B7DC-94105C5B4D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7C3F242C-A392-4A39-8FF5-DBCD0D6FF4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E547183-6639-46D7-AEE8-DB4E3D336A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F5B4-ED8E-4711-B77D-59892F9072F0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5059FBB-F4D1-4423-922D-A6A8556DA3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4D36B6B3-F73C-45FD-A8FE-B81D92A4A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F9A1C6-55F1-4721-BB7F-03F287F26B3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9086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8F5FD78-DD58-449A-92B6-5221341498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3935EDFE-49F4-4E7D-B6A5-C46D714123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9B180A1E-CD52-4B6F-881D-20AE69409A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6996A5B6-05E5-4D93-A384-530345F0F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F5B4-ED8E-4711-B77D-59892F9072F0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535AB5B-69AB-46CA-BF4C-290E92347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B67EE49F-F9FB-4B9C-923A-FD479EAD20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F9A1C6-55F1-4721-BB7F-03F287F26B3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0391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AD34796-DAC4-4596-A185-E0ECD4019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F0D3ECA8-5B0A-4601-913A-EC269CE93E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38DDC077-BDD1-4595-99DB-F680B5F311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5BFFB307-8B32-4277-89EF-F396862094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8F1ED678-7859-4BF9-9049-34E81F6DC24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8EBAF996-43C7-4CAC-BE0A-FD47D1AAD9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F5B4-ED8E-4711-B77D-59892F9072F0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AD29CE69-7FCB-4C02-B6CE-3C3ECC0345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38F4835-4A04-4DD1-90AC-835A91681A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F9A1C6-55F1-4721-BB7F-03F287F26B3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92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0B079E5-D4E3-4A75-9E47-DABBDD377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205D25EA-70BB-4F73-BADC-79CA49BAA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F5B4-ED8E-4711-B77D-59892F9072F0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E27BEFC0-840E-497D-9F03-F75DE79F9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2215D12-922D-4CBC-A933-52DB72227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F9A1C6-55F1-4721-BB7F-03F287F26B3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2352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97376D61-395E-4E66-B253-E8DEF57C80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F5B4-ED8E-4711-B77D-59892F9072F0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EEAD0FA2-DF34-40B9-A37B-C54C3E836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0F567E5-28D3-47B2-A087-1A0C8263DD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F9A1C6-55F1-4721-BB7F-03F287F26B3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995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B6407EE-536E-480F-9462-48528BD17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D8BF191-EEEE-40CD-844A-8421A94102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793A8CB0-2688-49E8-B1C1-36E44DF0D7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7BA55B15-4DC5-49A8-951B-67D8CD348A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F5B4-ED8E-4711-B77D-59892F9072F0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DB8E947E-7380-4F43-B91B-C5F0F44C9C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078B230A-0B12-40C6-8FF0-3C758A713E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F9A1C6-55F1-4721-BB7F-03F287F26B3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7003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B898E47-D1E8-4C89-9B55-4FEEE2E5B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6D940511-FD4C-40E4-9D8F-8238A33777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72F6734-3791-44F9-B679-4B5AA74010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66D0D5C7-F5DA-4694-87D7-5AE6172679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F5B4-ED8E-4711-B77D-59892F9072F0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C7317F83-19FF-497B-8ADE-37969C266B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508A5010-6FFD-48AA-A7A6-DEF63907BD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F9A1C6-55F1-4721-BB7F-03F287F26B3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8794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602BF4FE-29F1-4149-92BF-F2A454A95B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F8916E4-1FF6-4018-A66E-D487E65519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7131B30-8623-47A5-B449-42F6F9F06F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74F5B4-ED8E-4711-B77D-59892F9072F0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515E2FD-A32D-4486-9826-B6227D516A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E3947CBD-266B-4517-B1FD-EBD3DF3DF5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F9A1C6-55F1-4721-BB7F-03F287F26B3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168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4" r:id="rId12"/>
    <p:sldLayoutId id="214748368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DD133137-EAAC-417C-AE38-9265F1E7D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FBB0999A-4DB4-4AB5-9672-F7C3C3623D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FB75403-D2B9-47F2-B8AB-7CCCCA4C43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113383-EE07-4969-9B07-761D27C57D14}" type="datetimeFigureOut">
              <a:rPr lang="en-US" smtClean="0"/>
              <a:t>12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6B62890-48A6-4D9D-ACC0-FF9F19ABBB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27B97F5-333D-4D45-B126-E2146BAB2E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422C54-87D3-4C96-99E4-6E65A620FFA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809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9.svg"/><Relationship Id="rId7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jpeg"/><Relationship Id="rId5" Type="http://schemas.openxmlformats.org/officeDocument/2006/relationships/image" Target="../media/image11.svg"/><Relationship Id="rId10" Type="http://schemas.openxmlformats.org/officeDocument/2006/relationships/image" Target="../media/image9.png"/><Relationship Id="rId4" Type="http://schemas.openxmlformats.org/officeDocument/2006/relationships/image" Target="../media/image4.png"/><Relationship Id="rId9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sv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>
            <a:extLst>
              <a:ext uri="{FF2B5EF4-FFF2-40B4-BE49-F238E27FC236}">
                <a16:creationId xmlns="" xmlns:a16="http://schemas.microsoft.com/office/drawing/2014/main" id="{EB97392A-2B76-45EE-8353-05FE0369A96F}"/>
              </a:ext>
            </a:extLst>
          </p:cNvPr>
          <p:cNvGrpSpPr/>
          <p:nvPr/>
        </p:nvGrpSpPr>
        <p:grpSpPr>
          <a:xfrm flipH="1">
            <a:off x="544124" y="246677"/>
            <a:ext cx="11103746" cy="1914300"/>
            <a:chOff x="814298" y="3025483"/>
            <a:chExt cx="11103746" cy="1914300"/>
          </a:xfrm>
          <a:solidFill>
            <a:schemeClr val="bg1"/>
          </a:solidFill>
        </p:grpSpPr>
        <p:sp>
          <p:nvSpPr>
            <p:cNvPr id="51" name="Oval 58">
              <a:extLst>
                <a:ext uri="{FF2B5EF4-FFF2-40B4-BE49-F238E27FC236}">
                  <a16:creationId xmlns="" xmlns:a16="http://schemas.microsoft.com/office/drawing/2014/main" id="{ADACE6FA-E90A-4890-822C-BDD6AF1669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428" y="4608849"/>
              <a:ext cx="72644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Oval 59">
              <a:extLst>
                <a:ext uri="{FF2B5EF4-FFF2-40B4-BE49-F238E27FC236}">
                  <a16:creationId xmlns="" xmlns:a16="http://schemas.microsoft.com/office/drawing/2014/main" id="{58B70817-9861-4740-9A5B-302480E31B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0332" y="4828126"/>
              <a:ext cx="73989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Oval 60">
              <a:extLst>
                <a:ext uri="{FF2B5EF4-FFF2-40B4-BE49-F238E27FC236}">
                  <a16:creationId xmlns="" xmlns:a16="http://schemas.microsoft.com/office/drawing/2014/main" id="{A1F5551C-5A5C-4515-AA36-762E7F5257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Oval 61">
              <a:extLst>
                <a:ext uri="{FF2B5EF4-FFF2-40B4-BE49-F238E27FC236}">
                  <a16:creationId xmlns="" xmlns:a16="http://schemas.microsoft.com/office/drawing/2014/main" id="{53B338A4-A9A7-48E2-8436-BC21B1D4C7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62">
              <a:extLst>
                <a:ext uri="{FF2B5EF4-FFF2-40B4-BE49-F238E27FC236}">
                  <a16:creationId xmlns="" xmlns:a16="http://schemas.microsoft.com/office/drawing/2014/main" id="{1AC685C9-2137-45D4-B108-CC3CCEC964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Oval 63">
              <a:extLst>
                <a:ext uri="{FF2B5EF4-FFF2-40B4-BE49-F238E27FC236}">
                  <a16:creationId xmlns="" xmlns:a16="http://schemas.microsoft.com/office/drawing/2014/main" id="{EB3EECAC-CE90-42C3-A152-6F12246747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Oval 64">
              <a:extLst>
                <a:ext uri="{FF2B5EF4-FFF2-40B4-BE49-F238E27FC236}">
                  <a16:creationId xmlns="" xmlns:a16="http://schemas.microsoft.com/office/drawing/2014/main" id="{0AF50880-8A1B-4307-82DF-AC327FC56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4694" y="3260902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Oval 65">
              <a:extLst>
                <a:ext uri="{FF2B5EF4-FFF2-40B4-BE49-F238E27FC236}">
                  <a16:creationId xmlns="" xmlns:a16="http://schemas.microsoft.com/office/drawing/2014/main" id="{E6B9F83E-46E2-4C08-9F4A-EE4BA17821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Oval 66">
              <a:extLst>
                <a:ext uri="{FF2B5EF4-FFF2-40B4-BE49-F238E27FC236}">
                  <a16:creationId xmlns="" xmlns:a16="http://schemas.microsoft.com/office/drawing/2014/main" id="{2D772505-B700-400A-9E6E-FE44D2F599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9835" y="3260902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Oval 67">
              <a:extLst>
                <a:ext uri="{FF2B5EF4-FFF2-40B4-BE49-F238E27FC236}">
                  <a16:creationId xmlns="" xmlns:a16="http://schemas.microsoft.com/office/drawing/2014/main" id="{43961854-BA74-445F-8F7C-85B0E217F9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68">
              <a:extLst>
                <a:ext uri="{FF2B5EF4-FFF2-40B4-BE49-F238E27FC236}">
                  <a16:creationId xmlns="" xmlns:a16="http://schemas.microsoft.com/office/drawing/2014/main" id="{1FE017B3-530F-4AAC-8E2F-574F38AC9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69">
              <a:extLst>
                <a:ext uri="{FF2B5EF4-FFF2-40B4-BE49-F238E27FC236}">
                  <a16:creationId xmlns="" xmlns:a16="http://schemas.microsoft.com/office/drawing/2014/main" id="{9D3C4901-2500-46C2-9E2D-E861882C2E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45400" y="4214689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70">
              <a:extLst>
                <a:ext uri="{FF2B5EF4-FFF2-40B4-BE49-F238E27FC236}">
                  <a16:creationId xmlns="" xmlns:a16="http://schemas.microsoft.com/office/drawing/2014/main" id="{64F1F47D-B4B7-4F7F-B0B0-84331BF03F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Oval 71">
              <a:extLst>
                <a:ext uri="{FF2B5EF4-FFF2-40B4-BE49-F238E27FC236}">
                  <a16:creationId xmlns="" xmlns:a16="http://schemas.microsoft.com/office/drawing/2014/main" id="{DF04B3BB-825D-4F52-9422-BB46E5425E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7618" y="4867139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Oval 72">
              <a:extLst>
                <a:ext uri="{FF2B5EF4-FFF2-40B4-BE49-F238E27FC236}">
                  <a16:creationId xmlns="" xmlns:a16="http://schemas.microsoft.com/office/drawing/2014/main" id="{79CCD85C-01D9-4D48-94D7-FA099E8D4E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6685" y="4643826"/>
              <a:ext cx="76680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Oval 73">
              <a:extLst>
                <a:ext uri="{FF2B5EF4-FFF2-40B4-BE49-F238E27FC236}">
                  <a16:creationId xmlns="" xmlns:a16="http://schemas.microsoft.com/office/drawing/2014/main" id="{2E7D36BB-1E1A-40F4-93F9-BD6C9E197C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3808" y="3025483"/>
              <a:ext cx="7264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Oval 74">
              <a:extLst>
                <a:ext uri="{FF2B5EF4-FFF2-40B4-BE49-F238E27FC236}">
                  <a16:creationId xmlns="" xmlns:a16="http://schemas.microsoft.com/office/drawing/2014/main" id="{30072D1B-3E1F-41E2-B531-4CFE55AA9C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Oval 75">
              <a:extLst>
                <a:ext uri="{FF2B5EF4-FFF2-40B4-BE49-F238E27FC236}">
                  <a16:creationId xmlns="" xmlns:a16="http://schemas.microsoft.com/office/drawing/2014/main" id="{7122F621-FB1A-4230-AC59-AF0CF6D9A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76">
              <a:extLst>
                <a:ext uri="{FF2B5EF4-FFF2-40B4-BE49-F238E27FC236}">
                  <a16:creationId xmlns="" xmlns:a16="http://schemas.microsoft.com/office/drawing/2014/main" id="{0B2C924E-53C9-45F3-81A1-C0B5B60A92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Oval 77">
              <a:extLst>
                <a:ext uri="{FF2B5EF4-FFF2-40B4-BE49-F238E27FC236}">
                  <a16:creationId xmlns="" xmlns:a16="http://schemas.microsoft.com/office/drawing/2014/main" id="{D1B3D9A1-75E9-4869-BD69-B997B630DF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Oval 78">
              <a:extLst>
                <a:ext uri="{FF2B5EF4-FFF2-40B4-BE49-F238E27FC236}">
                  <a16:creationId xmlns="" xmlns:a16="http://schemas.microsoft.com/office/drawing/2014/main" id="{E8B93F87-34BF-4943-97D6-652D7BBCD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12244" y="4119176"/>
              <a:ext cx="76680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79">
              <a:extLst>
                <a:ext uri="{FF2B5EF4-FFF2-40B4-BE49-F238E27FC236}">
                  <a16:creationId xmlns="" xmlns:a16="http://schemas.microsoft.com/office/drawing/2014/main" id="{C7E27E45-8FB0-47C7-89DE-DCB7BE04C9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0191" y="3883756"/>
              <a:ext cx="73989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="" xmlns:a16="http://schemas.microsoft.com/office/drawing/2014/main" id="{C53B0E02-68CD-4A67-B974-EE90342D2F97}"/>
              </a:ext>
            </a:extLst>
          </p:cNvPr>
          <p:cNvGrpSpPr/>
          <p:nvPr/>
        </p:nvGrpSpPr>
        <p:grpSpPr>
          <a:xfrm>
            <a:off x="399639" y="0"/>
            <a:ext cx="11392723" cy="3416181"/>
            <a:chOff x="2659604" y="1441625"/>
            <a:chExt cx="6415594" cy="1704748"/>
          </a:xfrm>
          <a:solidFill>
            <a:schemeClr val="bg1">
              <a:alpha val="10000"/>
            </a:schemeClr>
          </a:solidFill>
        </p:grpSpPr>
        <p:grpSp>
          <p:nvGrpSpPr>
            <p:cNvPr id="5" name="Group 4">
              <a:extLst>
                <a:ext uri="{FF2B5EF4-FFF2-40B4-BE49-F238E27FC236}">
                  <a16:creationId xmlns="" xmlns:a16="http://schemas.microsoft.com/office/drawing/2014/main" id="{2CAB4A14-A8F7-4EDD-9AC0-29B36E0997CE}"/>
                </a:ext>
              </a:extLst>
            </p:cNvPr>
            <p:cNvGrpSpPr/>
            <p:nvPr/>
          </p:nvGrpSpPr>
          <p:grpSpPr>
            <a:xfrm>
              <a:off x="2659604" y="1441625"/>
              <a:ext cx="6415594" cy="801274"/>
              <a:chOff x="1364205" y="298625"/>
              <a:chExt cx="6415594" cy="801274"/>
            </a:xfrm>
            <a:grpFill/>
          </p:grpSpPr>
          <p:sp>
            <p:nvSpPr>
              <p:cNvPr id="7" name="Freeform 10">
                <a:extLst>
                  <a:ext uri="{FF2B5EF4-FFF2-40B4-BE49-F238E27FC236}">
                    <a16:creationId xmlns="" xmlns:a16="http://schemas.microsoft.com/office/drawing/2014/main" id="{99F34B89-8228-4AA3-A742-DF4C717BE9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96069" y="680929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10">
                <a:extLst>
                  <a:ext uri="{FF2B5EF4-FFF2-40B4-BE49-F238E27FC236}">
                    <a16:creationId xmlns="" xmlns:a16="http://schemas.microsoft.com/office/drawing/2014/main" id="{7A69EF59-BB46-434A-9215-DC75DBA9FD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7425" y="298625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10">
                <a:extLst>
                  <a:ext uri="{FF2B5EF4-FFF2-40B4-BE49-F238E27FC236}">
                    <a16:creationId xmlns="" xmlns:a16="http://schemas.microsoft.com/office/drawing/2014/main" id="{AD7328C6-D230-4DAD-ABF2-A08335BC5A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781" y="680929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10">
                <a:extLst>
                  <a:ext uri="{FF2B5EF4-FFF2-40B4-BE49-F238E27FC236}">
                    <a16:creationId xmlns="" xmlns:a16="http://schemas.microsoft.com/office/drawing/2014/main" id="{617FF9FF-E4D8-4D89-9446-988C351B57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30137" y="298625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="" xmlns:a16="http://schemas.microsoft.com/office/drawing/2014/main" id="{5E8C3578-1331-4A8F-A1A8-A9C03AF58D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41493" y="680929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="" xmlns:a16="http://schemas.microsoft.com/office/drawing/2014/main" id="{A0961401-E30D-4546-985C-9D870BD610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52849" y="298625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0">
                <a:extLst>
                  <a:ext uri="{FF2B5EF4-FFF2-40B4-BE49-F238E27FC236}">
                    <a16:creationId xmlns="" xmlns:a16="http://schemas.microsoft.com/office/drawing/2014/main" id="{9E637FD0-A520-42C4-8137-1C24619522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64205" y="680929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="" xmlns:a16="http://schemas.microsoft.com/office/drawing/2014/main" id="{22382CF1-7823-4F6B-A1E1-C667F27E89B3}"/>
                </a:ext>
              </a:extLst>
            </p:cNvPr>
            <p:cNvGrpSpPr/>
            <p:nvPr/>
          </p:nvGrpSpPr>
          <p:grpSpPr>
            <a:xfrm>
              <a:off x="3044606" y="2542573"/>
              <a:ext cx="5645588" cy="603800"/>
              <a:chOff x="1758605" y="1148800"/>
              <a:chExt cx="5645588" cy="603800"/>
            </a:xfrm>
            <a:grpFill/>
          </p:grpSpPr>
          <p:sp>
            <p:nvSpPr>
              <p:cNvPr id="17" name="Freeform 22">
                <a:extLst>
                  <a:ext uri="{FF2B5EF4-FFF2-40B4-BE49-F238E27FC236}">
                    <a16:creationId xmlns="" xmlns:a16="http://schemas.microsoft.com/office/drawing/2014/main" id="{D4830223-DFF0-435E-8FC0-62584C1B0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5860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2">
                <a:extLst>
                  <a:ext uri="{FF2B5EF4-FFF2-40B4-BE49-F238E27FC236}">
                    <a16:creationId xmlns="" xmlns:a16="http://schemas.microsoft.com/office/drawing/2014/main" id="{86BDC774-F753-462C-A7DF-3FB7EE19BD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57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2">
                <a:extLst>
                  <a:ext uri="{FF2B5EF4-FFF2-40B4-BE49-F238E27FC236}">
                    <a16:creationId xmlns="" xmlns:a16="http://schemas.microsoft.com/office/drawing/2014/main" id="{B4F668FB-7D63-4DB2-87A8-6B24A2187E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0454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2">
                <a:extLst>
                  <a:ext uri="{FF2B5EF4-FFF2-40B4-BE49-F238E27FC236}">
                    <a16:creationId xmlns="" xmlns:a16="http://schemas.microsoft.com/office/drawing/2014/main" id="{1E81D41B-D688-44BC-BEEE-8EFE886FD2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751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2">
                <a:extLst>
                  <a:ext uri="{FF2B5EF4-FFF2-40B4-BE49-F238E27FC236}">
                    <a16:creationId xmlns="" xmlns:a16="http://schemas.microsoft.com/office/drawing/2014/main" id="{5AB975C2-428A-47D2-84A8-ED6CB30231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048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2">
                <a:extLst>
                  <a:ext uri="{FF2B5EF4-FFF2-40B4-BE49-F238E27FC236}">
                    <a16:creationId xmlns="" xmlns:a16="http://schemas.microsoft.com/office/drawing/2014/main" id="{75FBD9A2-FC81-4F42-A4F9-5C7FEC9ECA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345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5EEA6D70-FD8A-47BA-AD81-1F655292223A}"/>
              </a:ext>
            </a:extLst>
          </p:cNvPr>
          <p:cNvGrpSpPr/>
          <p:nvPr/>
        </p:nvGrpSpPr>
        <p:grpSpPr>
          <a:xfrm>
            <a:off x="544124" y="1501882"/>
            <a:ext cx="11103746" cy="1914300"/>
            <a:chOff x="814298" y="3025483"/>
            <a:chExt cx="11103746" cy="1914300"/>
          </a:xfrm>
          <a:solidFill>
            <a:schemeClr val="bg1"/>
          </a:solidFill>
        </p:grpSpPr>
        <p:sp>
          <p:nvSpPr>
            <p:cNvPr id="26" name="Oval 58">
              <a:extLst>
                <a:ext uri="{FF2B5EF4-FFF2-40B4-BE49-F238E27FC236}">
                  <a16:creationId xmlns="" xmlns:a16="http://schemas.microsoft.com/office/drawing/2014/main" id="{C9FE51A8-C17C-4467-8273-C082218C38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428" y="4608849"/>
              <a:ext cx="72644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59">
              <a:extLst>
                <a:ext uri="{FF2B5EF4-FFF2-40B4-BE49-F238E27FC236}">
                  <a16:creationId xmlns="" xmlns:a16="http://schemas.microsoft.com/office/drawing/2014/main" id="{117BF3D3-8F9D-42CB-86E3-53A66E6840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0332" y="4828126"/>
              <a:ext cx="73989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60">
              <a:extLst>
                <a:ext uri="{FF2B5EF4-FFF2-40B4-BE49-F238E27FC236}">
                  <a16:creationId xmlns="" xmlns:a16="http://schemas.microsoft.com/office/drawing/2014/main" id="{FF20C897-AF5E-4C63-B1F5-7DB34F4900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61">
              <a:extLst>
                <a:ext uri="{FF2B5EF4-FFF2-40B4-BE49-F238E27FC236}">
                  <a16:creationId xmlns="" xmlns:a16="http://schemas.microsoft.com/office/drawing/2014/main" id="{9D5272B1-9869-433E-B528-AF14AC5D50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62">
              <a:extLst>
                <a:ext uri="{FF2B5EF4-FFF2-40B4-BE49-F238E27FC236}">
                  <a16:creationId xmlns="" xmlns:a16="http://schemas.microsoft.com/office/drawing/2014/main" id="{7084D2A4-8162-409F-8398-C821489D13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63">
              <a:extLst>
                <a:ext uri="{FF2B5EF4-FFF2-40B4-BE49-F238E27FC236}">
                  <a16:creationId xmlns="" xmlns:a16="http://schemas.microsoft.com/office/drawing/2014/main" id="{955073EC-3B5B-4A14-A548-1F77D7B8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64">
              <a:extLst>
                <a:ext uri="{FF2B5EF4-FFF2-40B4-BE49-F238E27FC236}">
                  <a16:creationId xmlns="" xmlns:a16="http://schemas.microsoft.com/office/drawing/2014/main" id="{5E525545-D290-4122-998B-775263F9A6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4694" y="3260902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65">
              <a:extLst>
                <a:ext uri="{FF2B5EF4-FFF2-40B4-BE49-F238E27FC236}">
                  <a16:creationId xmlns="" xmlns:a16="http://schemas.microsoft.com/office/drawing/2014/main" id="{A249F4E5-AF21-4C48-BAF1-08744EAD21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66">
              <a:extLst>
                <a:ext uri="{FF2B5EF4-FFF2-40B4-BE49-F238E27FC236}">
                  <a16:creationId xmlns="" xmlns:a16="http://schemas.microsoft.com/office/drawing/2014/main" id="{ABDD882B-58EE-4368-AF61-7FC1827A73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9835" y="3260902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67">
              <a:extLst>
                <a:ext uri="{FF2B5EF4-FFF2-40B4-BE49-F238E27FC236}">
                  <a16:creationId xmlns="" xmlns:a16="http://schemas.microsoft.com/office/drawing/2014/main" id="{778FD01D-718A-4601-AFFE-F6892181A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68">
              <a:extLst>
                <a:ext uri="{FF2B5EF4-FFF2-40B4-BE49-F238E27FC236}">
                  <a16:creationId xmlns="" xmlns:a16="http://schemas.microsoft.com/office/drawing/2014/main" id="{11A0DED6-D75A-4E59-8A17-495A569FEC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69">
              <a:extLst>
                <a:ext uri="{FF2B5EF4-FFF2-40B4-BE49-F238E27FC236}">
                  <a16:creationId xmlns="" xmlns:a16="http://schemas.microsoft.com/office/drawing/2014/main" id="{28EA82FC-E1A0-4B0B-8F28-6EFC1C9F9D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45400" y="4214689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70">
              <a:extLst>
                <a:ext uri="{FF2B5EF4-FFF2-40B4-BE49-F238E27FC236}">
                  <a16:creationId xmlns="" xmlns:a16="http://schemas.microsoft.com/office/drawing/2014/main" id="{635CFFFC-9C70-475A-8C32-1C667671DA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71">
              <a:extLst>
                <a:ext uri="{FF2B5EF4-FFF2-40B4-BE49-F238E27FC236}">
                  <a16:creationId xmlns="" xmlns:a16="http://schemas.microsoft.com/office/drawing/2014/main" id="{E6737169-B044-483E-82C3-3339C6F122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7618" y="4867139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72">
              <a:extLst>
                <a:ext uri="{FF2B5EF4-FFF2-40B4-BE49-F238E27FC236}">
                  <a16:creationId xmlns="" xmlns:a16="http://schemas.microsoft.com/office/drawing/2014/main" id="{4994A3B9-B2B0-4C41-AF61-5D1FF703E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6685" y="4643826"/>
              <a:ext cx="76680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73">
              <a:extLst>
                <a:ext uri="{FF2B5EF4-FFF2-40B4-BE49-F238E27FC236}">
                  <a16:creationId xmlns="" xmlns:a16="http://schemas.microsoft.com/office/drawing/2014/main" id="{BFC7E522-1B4B-4D0B-B75A-B12FC0AA93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3808" y="3025483"/>
              <a:ext cx="7264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74">
              <a:extLst>
                <a:ext uri="{FF2B5EF4-FFF2-40B4-BE49-F238E27FC236}">
                  <a16:creationId xmlns="" xmlns:a16="http://schemas.microsoft.com/office/drawing/2014/main" id="{D2E99DFC-932B-4AEC-8524-9E53176F8B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75">
              <a:extLst>
                <a:ext uri="{FF2B5EF4-FFF2-40B4-BE49-F238E27FC236}">
                  <a16:creationId xmlns="" xmlns:a16="http://schemas.microsoft.com/office/drawing/2014/main" id="{F250811B-2E87-4225-B8DD-239E0E37B9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76">
              <a:extLst>
                <a:ext uri="{FF2B5EF4-FFF2-40B4-BE49-F238E27FC236}">
                  <a16:creationId xmlns="" xmlns:a16="http://schemas.microsoft.com/office/drawing/2014/main" id="{AFEDF159-FA0A-4EFE-A731-206D302EB2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Oval 77">
              <a:extLst>
                <a:ext uri="{FF2B5EF4-FFF2-40B4-BE49-F238E27FC236}">
                  <a16:creationId xmlns="" xmlns:a16="http://schemas.microsoft.com/office/drawing/2014/main" id="{82CA4409-0B38-433F-B25C-45E4A30187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78">
              <a:extLst>
                <a:ext uri="{FF2B5EF4-FFF2-40B4-BE49-F238E27FC236}">
                  <a16:creationId xmlns="" xmlns:a16="http://schemas.microsoft.com/office/drawing/2014/main" id="{4332D21F-EAC2-47EA-885B-B4FA19AB35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12244" y="4119176"/>
              <a:ext cx="76680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79">
              <a:extLst>
                <a:ext uri="{FF2B5EF4-FFF2-40B4-BE49-F238E27FC236}">
                  <a16:creationId xmlns="" xmlns:a16="http://schemas.microsoft.com/office/drawing/2014/main" id="{D05E329D-6EBB-40F8-8C05-2ABAFCDC4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0191" y="3883756"/>
              <a:ext cx="73989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="" xmlns:a16="http://schemas.microsoft.com/office/drawing/2014/main" id="{6A25F29D-FF4C-417D-B4A7-2C8E5A26C541}"/>
              </a:ext>
            </a:extLst>
          </p:cNvPr>
          <p:cNvGrpSpPr/>
          <p:nvPr/>
        </p:nvGrpSpPr>
        <p:grpSpPr>
          <a:xfrm>
            <a:off x="399639" y="3584053"/>
            <a:ext cx="11392723" cy="3027269"/>
            <a:chOff x="2659604" y="1441625"/>
            <a:chExt cx="6415594" cy="1704748"/>
          </a:xfrm>
          <a:solidFill>
            <a:schemeClr val="bg1">
              <a:alpha val="10000"/>
            </a:schemeClr>
          </a:solidFill>
        </p:grpSpPr>
        <p:grpSp>
          <p:nvGrpSpPr>
            <p:cNvPr id="139" name="Group 138">
              <a:extLst>
                <a:ext uri="{FF2B5EF4-FFF2-40B4-BE49-F238E27FC236}">
                  <a16:creationId xmlns="" xmlns:a16="http://schemas.microsoft.com/office/drawing/2014/main" id="{F54006D4-FFCB-408A-902D-E4698776C948}"/>
                </a:ext>
              </a:extLst>
            </p:cNvPr>
            <p:cNvGrpSpPr/>
            <p:nvPr/>
          </p:nvGrpSpPr>
          <p:grpSpPr>
            <a:xfrm>
              <a:off x="2659604" y="1441625"/>
              <a:ext cx="6415594" cy="801274"/>
              <a:chOff x="1364205" y="298625"/>
              <a:chExt cx="6415594" cy="801274"/>
            </a:xfrm>
            <a:grpFill/>
          </p:grpSpPr>
          <p:sp>
            <p:nvSpPr>
              <p:cNvPr id="147" name="Freeform 10">
                <a:extLst>
                  <a:ext uri="{FF2B5EF4-FFF2-40B4-BE49-F238E27FC236}">
                    <a16:creationId xmlns="" xmlns:a16="http://schemas.microsoft.com/office/drawing/2014/main" id="{07410C32-ABD9-45E6-9900-5E15EF15C4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96069" y="680929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10">
                <a:extLst>
                  <a:ext uri="{FF2B5EF4-FFF2-40B4-BE49-F238E27FC236}">
                    <a16:creationId xmlns="" xmlns:a16="http://schemas.microsoft.com/office/drawing/2014/main" id="{C75D5FA7-8DA7-4962-BD3A-FD065D26D9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7425" y="298625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10">
                <a:extLst>
                  <a:ext uri="{FF2B5EF4-FFF2-40B4-BE49-F238E27FC236}">
                    <a16:creationId xmlns="" xmlns:a16="http://schemas.microsoft.com/office/drawing/2014/main" id="{CF9CEB92-649B-4333-81E2-D8885856AD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781" y="680929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10">
                <a:extLst>
                  <a:ext uri="{FF2B5EF4-FFF2-40B4-BE49-F238E27FC236}">
                    <a16:creationId xmlns="" xmlns:a16="http://schemas.microsoft.com/office/drawing/2014/main" id="{A574E290-B430-4089-A401-97405210C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30137" y="298625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10">
                <a:extLst>
                  <a:ext uri="{FF2B5EF4-FFF2-40B4-BE49-F238E27FC236}">
                    <a16:creationId xmlns="" xmlns:a16="http://schemas.microsoft.com/office/drawing/2014/main" id="{6F047286-5C4D-46C5-AB44-31B6AA0749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41493" y="680929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10">
                <a:extLst>
                  <a:ext uri="{FF2B5EF4-FFF2-40B4-BE49-F238E27FC236}">
                    <a16:creationId xmlns="" xmlns:a16="http://schemas.microsoft.com/office/drawing/2014/main" id="{9CE5B644-D1AB-4DD9-8B03-78197F00ED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52849" y="298625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10">
                <a:extLst>
                  <a:ext uri="{FF2B5EF4-FFF2-40B4-BE49-F238E27FC236}">
                    <a16:creationId xmlns="" xmlns:a16="http://schemas.microsoft.com/office/drawing/2014/main" id="{697CBC50-3875-41FA-9DDA-2298F715F6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64205" y="680929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40" name="Group 139">
              <a:extLst>
                <a:ext uri="{FF2B5EF4-FFF2-40B4-BE49-F238E27FC236}">
                  <a16:creationId xmlns="" xmlns:a16="http://schemas.microsoft.com/office/drawing/2014/main" id="{8F3DDE3C-68BD-481B-AFAE-55764D3F6E4E}"/>
                </a:ext>
              </a:extLst>
            </p:cNvPr>
            <p:cNvGrpSpPr/>
            <p:nvPr/>
          </p:nvGrpSpPr>
          <p:grpSpPr>
            <a:xfrm>
              <a:off x="3044606" y="2542573"/>
              <a:ext cx="5645588" cy="603800"/>
              <a:chOff x="1758605" y="1148800"/>
              <a:chExt cx="5645588" cy="603800"/>
            </a:xfrm>
            <a:grpFill/>
          </p:grpSpPr>
          <p:sp>
            <p:nvSpPr>
              <p:cNvPr id="141" name="Freeform 22">
                <a:extLst>
                  <a:ext uri="{FF2B5EF4-FFF2-40B4-BE49-F238E27FC236}">
                    <a16:creationId xmlns="" xmlns:a16="http://schemas.microsoft.com/office/drawing/2014/main" id="{F044F98A-CBC8-4164-AD2E-D577EB1EA1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5860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22">
                <a:extLst>
                  <a:ext uri="{FF2B5EF4-FFF2-40B4-BE49-F238E27FC236}">
                    <a16:creationId xmlns="" xmlns:a16="http://schemas.microsoft.com/office/drawing/2014/main" id="{D9839BF2-593D-442A-B4F6-5E35E7BFF6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57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22">
                <a:extLst>
                  <a:ext uri="{FF2B5EF4-FFF2-40B4-BE49-F238E27FC236}">
                    <a16:creationId xmlns="" xmlns:a16="http://schemas.microsoft.com/office/drawing/2014/main" id="{E741795A-3CEE-4D0A-84A0-9D72723B08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0454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22">
                <a:extLst>
                  <a:ext uri="{FF2B5EF4-FFF2-40B4-BE49-F238E27FC236}">
                    <a16:creationId xmlns="" xmlns:a16="http://schemas.microsoft.com/office/drawing/2014/main" id="{504C2533-8459-4185-95B0-250724F599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751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22">
                <a:extLst>
                  <a:ext uri="{FF2B5EF4-FFF2-40B4-BE49-F238E27FC236}">
                    <a16:creationId xmlns="" xmlns:a16="http://schemas.microsoft.com/office/drawing/2014/main" id="{3315B172-05CD-4960-8143-B306B81A6D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048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22">
                <a:extLst>
                  <a:ext uri="{FF2B5EF4-FFF2-40B4-BE49-F238E27FC236}">
                    <a16:creationId xmlns="" xmlns:a16="http://schemas.microsoft.com/office/drawing/2014/main" id="{02040C3B-05C3-4C11-A4CC-F7A3BC4050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345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82" name="ZoneTexte 181">
            <a:extLst>
              <a:ext uri="{FF2B5EF4-FFF2-40B4-BE49-F238E27FC236}">
                <a16:creationId xmlns="" xmlns:a16="http://schemas.microsoft.com/office/drawing/2014/main" id="{4B788096-44EC-4327-9501-C8038880FB96}"/>
              </a:ext>
            </a:extLst>
          </p:cNvPr>
          <p:cNvSpPr txBox="1"/>
          <p:nvPr/>
        </p:nvSpPr>
        <p:spPr>
          <a:xfrm>
            <a:off x="179827" y="4690217"/>
            <a:ext cx="5082882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roup </a:t>
            </a:r>
            <a:r>
              <a:rPr lang="fr-FR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 </a:t>
            </a:r>
            <a:r>
              <a:rPr lang="fr-FR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fr-FR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CHOUPOU </a:t>
            </a:r>
            <a:r>
              <a:rPr lang="en-US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lotaire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Chef)</a:t>
            </a:r>
            <a:endParaRPr lang="fr-FR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MATSENING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nda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DAH Gildas</a:t>
            </a: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MANDJOU Lesly</a:t>
            </a:r>
            <a:endParaRPr lang="fr-FR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/>
            <a:endParaRPr lang="fr-FR" b="1" dirty="0"/>
          </a:p>
          <a:p>
            <a:pPr algn="ctr"/>
            <a:endParaRPr lang="fr-FR" b="1" dirty="0"/>
          </a:p>
        </p:txBody>
      </p:sp>
      <p:sp>
        <p:nvSpPr>
          <p:cNvPr id="176" name="Rectangle 175">
            <a:extLst>
              <a:ext uri="{FF2B5EF4-FFF2-40B4-BE49-F238E27FC236}">
                <a16:creationId xmlns="" xmlns:a16="http://schemas.microsoft.com/office/drawing/2014/main" id="{52DCD65D-FDD8-4BCC-BDF1-E46D921D1A92}"/>
              </a:ext>
            </a:extLst>
          </p:cNvPr>
          <p:cNvSpPr/>
          <p:nvPr/>
        </p:nvSpPr>
        <p:spPr>
          <a:xfrm>
            <a:off x="0" y="0"/>
            <a:ext cx="12192000" cy="3188814"/>
          </a:xfrm>
          <a:prstGeom prst="rect">
            <a:avLst/>
          </a:prstGeom>
          <a:solidFill>
            <a:srgbClr val="52B0BC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7" name="Scroll: Horizontal 11">
            <a:extLst>
              <a:ext uri="{FF2B5EF4-FFF2-40B4-BE49-F238E27FC236}">
                <a16:creationId xmlns="" xmlns:a16="http://schemas.microsoft.com/office/drawing/2014/main" id="{350B66B1-BB5F-4126-A0EF-17704FF1308A}"/>
              </a:ext>
            </a:extLst>
          </p:cNvPr>
          <p:cNvSpPr/>
          <p:nvPr/>
        </p:nvSpPr>
        <p:spPr>
          <a:xfrm>
            <a:off x="1145002" y="1969993"/>
            <a:ext cx="9886093" cy="2094628"/>
          </a:xfrm>
          <a:prstGeom prst="horizont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800" dirty="0" smtClean="0">
                <a:latin typeface="Baskerville Old Face" panose="02020602080505020303" pitchFamily="18" charset="0"/>
              </a:rPr>
              <a:t>PROJET PROGRAMMATION SYSTEME</a:t>
            </a:r>
            <a:endParaRPr lang="fr-FR" sz="3800" dirty="0">
              <a:latin typeface="Baskerville Old Face" panose="02020602080505020303" pitchFamily="18" charset="0"/>
            </a:endParaRPr>
          </a:p>
        </p:txBody>
      </p:sp>
      <p:pic>
        <p:nvPicPr>
          <p:cNvPr id="178" name="Picture 15" descr="A picture containing clipart&#10;&#10;Description automatically generated">
            <a:extLst>
              <a:ext uri="{FF2B5EF4-FFF2-40B4-BE49-F238E27FC236}">
                <a16:creationId xmlns="" xmlns:a16="http://schemas.microsoft.com/office/drawing/2014/main" id="{F64ED289-5ECB-4D4A-BBC5-CDA3EA401D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3672" y="-5545"/>
            <a:ext cx="2427728" cy="978924"/>
          </a:xfrm>
          <a:prstGeom prst="rect">
            <a:avLst/>
          </a:prstGeom>
        </p:spPr>
      </p:pic>
      <p:pic>
        <p:nvPicPr>
          <p:cNvPr id="179" name="Picture 2" descr="A drawing of a face&#10;&#10;Description automatically generated">
            <a:extLst>
              <a:ext uri="{FF2B5EF4-FFF2-40B4-BE49-F238E27FC236}">
                <a16:creationId xmlns="" xmlns:a16="http://schemas.microsoft.com/office/drawing/2014/main" id="{886039D3-5825-4478-ACCD-0EF1FDD55D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59" y="1984"/>
            <a:ext cx="2769215" cy="974908"/>
          </a:xfrm>
          <a:prstGeom prst="rect">
            <a:avLst/>
          </a:prstGeom>
        </p:spPr>
      </p:pic>
      <p:sp>
        <p:nvSpPr>
          <p:cNvPr id="180" name="Zone de texte 37"/>
          <p:cNvSpPr txBox="1"/>
          <p:nvPr/>
        </p:nvSpPr>
        <p:spPr>
          <a:xfrm>
            <a:off x="8820862" y="4935970"/>
            <a:ext cx="3866329" cy="1139241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fr-FR" b="1" u="sng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fr-FR" sz="1900" b="1" u="sng" dirty="0" smtClean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upervisé par</a:t>
            </a:r>
            <a:r>
              <a:rPr lang="fr-FR" sz="19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:</a:t>
            </a:r>
            <a:endParaRPr lang="fr-FR" sz="19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900" dirty="0" smtClean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. Tanguy KUATE </a:t>
            </a:r>
            <a:endParaRPr lang="fr-FR" sz="19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3762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0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="" xmlns:a16="http://schemas.microsoft.com/office/drawing/2014/main" id="{3E43A7E6-5608-4886-B02F-638489233242}"/>
              </a:ext>
            </a:extLst>
          </p:cNvPr>
          <p:cNvSpPr/>
          <p:nvPr/>
        </p:nvSpPr>
        <p:spPr>
          <a:xfrm>
            <a:off x="3640251" y="46899"/>
            <a:ext cx="6347812" cy="839713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6A18878A-FACF-496E-A937-8B120674250D}"/>
              </a:ext>
            </a:extLst>
          </p:cNvPr>
          <p:cNvSpPr txBox="1"/>
          <p:nvPr/>
        </p:nvSpPr>
        <p:spPr>
          <a:xfrm>
            <a:off x="414146" y="786003"/>
            <a:ext cx="4077265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b="1" dirty="0" smtClean="0">
                <a:solidFill>
                  <a:srgbClr val="D63A31"/>
                </a:solidFill>
                <a:latin typeface="+mj-lt"/>
              </a:rPr>
              <a:t>Planning R</a:t>
            </a:r>
            <a:r>
              <a:rPr lang="fr-CM" sz="2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éel</a:t>
            </a:r>
            <a:endParaRPr lang="fr-CM" sz="28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cxnSp>
        <p:nvCxnSpPr>
          <p:cNvPr id="11" name="Straight Connector 235">
            <a:extLst>
              <a:ext uri="{FF2B5EF4-FFF2-40B4-BE49-F238E27FC236}">
                <a16:creationId xmlns="" xmlns:a16="http://schemas.microsoft.com/office/drawing/2014/main" id="{7CAA804B-F70E-4EBD-A48C-EAD8A7C82985}"/>
              </a:ext>
            </a:extLst>
          </p:cNvPr>
          <p:cNvCxnSpPr/>
          <p:nvPr/>
        </p:nvCxnSpPr>
        <p:spPr>
          <a:xfrm>
            <a:off x="961090" y="1294726"/>
            <a:ext cx="2983379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Nuage 11"/>
          <p:cNvSpPr/>
          <p:nvPr/>
        </p:nvSpPr>
        <p:spPr>
          <a:xfrm>
            <a:off x="10951030" y="6148200"/>
            <a:ext cx="697632" cy="492086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 smtClean="0">
                <a:solidFill>
                  <a:schemeClr val="tx2"/>
                </a:solidFill>
                <a:latin typeface="Gabriola" panose="04040605051002020D02" pitchFamily="82" charset="0"/>
              </a:rPr>
              <a:t>10</a:t>
            </a:r>
            <a:endParaRPr lang="fr-FR" sz="3200" b="1" dirty="0">
              <a:solidFill>
                <a:schemeClr val="tx2"/>
              </a:solidFill>
              <a:latin typeface="Gabriola" panose="04040605051002020D02" pitchFamily="82" charset="0"/>
            </a:endParaRPr>
          </a:p>
        </p:txBody>
      </p:sp>
      <p:sp>
        <p:nvSpPr>
          <p:cNvPr id="9" name="TextBox 134">
            <a:extLst>
              <a:ext uri="{FF2B5EF4-FFF2-40B4-BE49-F238E27FC236}">
                <a16:creationId xmlns="" xmlns:a16="http://schemas.microsoft.com/office/drawing/2014/main" id="{7C8D54A0-F533-42D8-8BE6-4367D7F44298}"/>
              </a:ext>
            </a:extLst>
          </p:cNvPr>
          <p:cNvSpPr txBox="1"/>
          <p:nvPr/>
        </p:nvSpPr>
        <p:spPr>
          <a:xfrm>
            <a:off x="3534772" y="239469"/>
            <a:ext cx="6547652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éalisation des specifications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  <a:p>
            <a:pPr algn="ctr">
              <a:buClr>
                <a:schemeClr val="accent2"/>
              </a:buClr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011" y="1293813"/>
            <a:ext cx="10720409" cy="5346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98873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="" xmlns:a16="http://schemas.microsoft.com/office/drawing/2014/main" id="{3E43A7E6-5608-4886-B02F-638489233242}"/>
              </a:ext>
            </a:extLst>
          </p:cNvPr>
          <p:cNvSpPr/>
          <p:nvPr/>
        </p:nvSpPr>
        <p:spPr>
          <a:xfrm>
            <a:off x="3640251" y="46899"/>
            <a:ext cx="6347812" cy="839713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6A18878A-FACF-496E-A937-8B120674250D}"/>
              </a:ext>
            </a:extLst>
          </p:cNvPr>
          <p:cNvSpPr txBox="1"/>
          <p:nvPr/>
        </p:nvSpPr>
        <p:spPr>
          <a:xfrm>
            <a:off x="343498" y="1193741"/>
            <a:ext cx="5224545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b="1" dirty="0" err="1" smtClean="0">
                <a:solidFill>
                  <a:srgbClr val="D63A31"/>
                </a:solidFill>
                <a:latin typeface="+mj-lt"/>
              </a:rPr>
              <a:t>Durée</a:t>
            </a:r>
            <a:r>
              <a:rPr lang="en-US" sz="2800" b="1" dirty="0" smtClean="0">
                <a:solidFill>
                  <a:srgbClr val="D63A31"/>
                </a:solidFill>
                <a:latin typeface="+mj-lt"/>
              </a:rPr>
              <a:t> d</a:t>
            </a:r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 Travail</a:t>
            </a:r>
            <a:endParaRPr lang="fr-CM" sz="28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601990">
            <a:off x="813977" y="2889592"/>
            <a:ext cx="3494789" cy="2621092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4610790" y="2283106"/>
            <a:ext cx="7012193" cy="2889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500" dirty="0" smtClean="0">
                <a:solidFill>
                  <a:schemeClr val="tx2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Le</a:t>
            </a:r>
            <a:r>
              <a:rPr lang="fr-FR" sz="3500" dirty="0" smtClean="0">
                <a:solidFill>
                  <a:schemeClr val="tx2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projet a duré une semaine et demi, soit 09 jours</a:t>
            </a:r>
            <a:endParaRPr lang="fr-FR" sz="3500" dirty="0">
              <a:solidFill>
                <a:schemeClr val="tx2"/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cxnSp>
        <p:nvCxnSpPr>
          <p:cNvPr id="12" name="Straight Connector 235">
            <a:extLst>
              <a:ext uri="{FF2B5EF4-FFF2-40B4-BE49-F238E27FC236}">
                <a16:creationId xmlns="" xmlns:a16="http://schemas.microsoft.com/office/drawing/2014/main" id="{7CAA804B-F70E-4EBD-A48C-EAD8A7C82985}"/>
              </a:ext>
            </a:extLst>
          </p:cNvPr>
          <p:cNvCxnSpPr/>
          <p:nvPr/>
        </p:nvCxnSpPr>
        <p:spPr>
          <a:xfrm>
            <a:off x="1497361" y="1702618"/>
            <a:ext cx="2983379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Nuage 12"/>
          <p:cNvSpPr/>
          <p:nvPr/>
        </p:nvSpPr>
        <p:spPr>
          <a:xfrm>
            <a:off x="10951030" y="6148200"/>
            <a:ext cx="697632" cy="492086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 smtClean="0">
                <a:solidFill>
                  <a:schemeClr val="tx2"/>
                </a:solidFill>
                <a:latin typeface="Gabriola" panose="04040605051002020D02" pitchFamily="82" charset="0"/>
              </a:rPr>
              <a:t>11</a:t>
            </a:r>
            <a:endParaRPr lang="fr-FR" sz="3200" b="1" dirty="0">
              <a:solidFill>
                <a:schemeClr val="tx2"/>
              </a:solidFill>
              <a:latin typeface="Gabriola" panose="04040605051002020D02" pitchFamily="82" charset="0"/>
            </a:endParaRPr>
          </a:p>
        </p:txBody>
      </p:sp>
      <p:sp>
        <p:nvSpPr>
          <p:cNvPr id="9" name="TextBox 134">
            <a:extLst>
              <a:ext uri="{FF2B5EF4-FFF2-40B4-BE49-F238E27FC236}">
                <a16:creationId xmlns="" xmlns:a16="http://schemas.microsoft.com/office/drawing/2014/main" id="{7C8D54A0-F533-42D8-8BE6-4367D7F44298}"/>
              </a:ext>
            </a:extLst>
          </p:cNvPr>
          <p:cNvSpPr txBox="1"/>
          <p:nvPr/>
        </p:nvSpPr>
        <p:spPr>
          <a:xfrm>
            <a:off x="3534772" y="239469"/>
            <a:ext cx="6547652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éalisation des specifications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  <a:p>
            <a:pPr algn="ctr">
              <a:buClr>
                <a:schemeClr val="accent2"/>
              </a:buClr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8254374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Freeform 14"/>
          <p:cNvSpPr>
            <a:spLocks/>
          </p:cNvSpPr>
          <p:nvPr/>
        </p:nvSpPr>
        <p:spPr bwMode="auto">
          <a:xfrm>
            <a:off x="6971874" y="2615231"/>
            <a:ext cx="1822182" cy="2507885"/>
          </a:xfrm>
          <a:custGeom>
            <a:avLst/>
            <a:gdLst>
              <a:gd name="T0" fmla="*/ 4096 w 4121"/>
              <a:gd name="T1" fmla="*/ 2644 h 5673"/>
              <a:gd name="T2" fmla="*/ 4091 w 4121"/>
              <a:gd name="T3" fmla="*/ 2305 h 5673"/>
              <a:gd name="T4" fmla="*/ 2760 w 4121"/>
              <a:gd name="T5" fmla="*/ 0 h 5673"/>
              <a:gd name="T6" fmla="*/ 2198 w 4121"/>
              <a:gd name="T7" fmla="*/ 2098 h 5673"/>
              <a:gd name="T8" fmla="*/ 2142 w 4121"/>
              <a:gd name="T9" fmla="*/ 2307 h 5673"/>
              <a:gd name="T10" fmla="*/ 1933 w 4121"/>
              <a:gd name="T11" fmla="*/ 2251 h 5673"/>
              <a:gd name="T12" fmla="*/ 662 w 4121"/>
              <a:gd name="T13" fmla="*/ 1910 h 5673"/>
              <a:gd name="T14" fmla="*/ 912 w 4121"/>
              <a:gd name="T15" fmla="*/ 2339 h 5673"/>
              <a:gd name="T16" fmla="*/ 912 w 4121"/>
              <a:gd name="T17" fmla="*/ 2625 h 5673"/>
              <a:gd name="T18" fmla="*/ 0 w 4121"/>
              <a:gd name="T19" fmla="*/ 4191 h 5673"/>
              <a:gd name="T20" fmla="*/ 398 w 4121"/>
              <a:gd name="T21" fmla="*/ 5673 h 5673"/>
              <a:gd name="T22" fmla="*/ 2704 w 4121"/>
              <a:gd name="T23" fmla="*/ 5055 h 5673"/>
              <a:gd name="T24" fmla="*/ 4096 w 4121"/>
              <a:gd name="T25" fmla="*/ 2644 h 56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21" h="5673">
                <a:moveTo>
                  <a:pt x="4096" y="2644"/>
                </a:moveTo>
                <a:cubicBezTo>
                  <a:pt x="4121" y="2536"/>
                  <a:pt x="4120" y="2412"/>
                  <a:pt x="4091" y="2305"/>
                </a:cubicBezTo>
                <a:cubicBezTo>
                  <a:pt x="2760" y="0"/>
                  <a:pt x="2760" y="0"/>
                  <a:pt x="2760" y="0"/>
                </a:cubicBezTo>
                <a:cubicBezTo>
                  <a:pt x="2198" y="2098"/>
                  <a:pt x="2198" y="2098"/>
                  <a:pt x="2198" y="2098"/>
                </a:cubicBezTo>
                <a:cubicBezTo>
                  <a:pt x="2142" y="2307"/>
                  <a:pt x="2142" y="2307"/>
                  <a:pt x="2142" y="2307"/>
                </a:cubicBezTo>
                <a:cubicBezTo>
                  <a:pt x="1933" y="2251"/>
                  <a:pt x="1933" y="2251"/>
                  <a:pt x="1933" y="2251"/>
                </a:cubicBezTo>
                <a:cubicBezTo>
                  <a:pt x="662" y="1910"/>
                  <a:pt x="662" y="1910"/>
                  <a:pt x="662" y="1910"/>
                </a:cubicBezTo>
                <a:cubicBezTo>
                  <a:pt x="912" y="2339"/>
                  <a:pt x="912" y="2339"/>
                  <a:pt x="912" y="2339"/>
                </a:cubicBezTo>
                <a:cubicBezTo>
                  <a:pt x="957" y="2418"/>
                  <a:pt x="957" y="2546"/>
                  <a:pt x="912" y="2625"/>
                </a:cubicBezTo>
                <a:cubicBezTo>
                  <a:pt x="0" y="4191"/>
                  <a:pt x="0" y="4191"/>
                  <a:pt x="0" y="4191"/>
                </a:cubicBezTo>
                <a:cubicBezTo>
                  <a:pt x="398" y="5673"/>
                  <a:pt x="398" y="5673"/>
                  <a:pt x="398" y="5673"/>
                </a:cubicBezTo>
                <a:cubicBezTo>
                  <a:pt x="2704" y="5055"/>
                  <a:pt x="2704" y="5055"/>
                  <a:pt x="2704" y="5055"/>
                </a:cubicBezTo>
                <a:lnTo>
                  <a:pt x="4096" y="2644"/>
                </a:lnTo>
                <a:close/>
              </a:path>
            </a:pathLst>
          </a:custGeom>
          <a:solidFill>
            <a:srgbClr val="78D2D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Freeform 15"/>
          <p:cNvSpPr>
            <a:spLocks/>
          </p:cNvSpPr>
          <p:nvPr/>
        </p:nvSpPr>
        <p:spPr bwMode="auto">
          <a:xfrm>
            <a:off x="6207354" y="1361422"/>
            <a:ext cx="1914007" cy="2150127"/>
          </a:xfrm>
          <a:custGeom>
            <a:avLst/>
            <a:gdLst>
              <a:gd name="T0" fmla="*/ 2509 w 4330"/>
              <a:gd name="T1" fmla="*/ 0 h 4863"/>
              <a:gd name="T2" fmla="*/ 0 w 4330"/>
              <a:gd name="T3" fmla="*/ 0 h 4863"/>
              <a:gd name="T4" fmla="*/ 1515 w 4330"/>
              <a:gd name="T5" fmla="*/ 1515 h 4863"/>
              <a:gd name="T6" fmla="*/ 1668 w 4330"/>
              <a:gd name="T7" fmla="*/ 1669 h 4863"/>
              <a:gd name="T8" fmla="*/ 1515 w 4330"/>
              <a:gd name="T9" fmla="*/ 1821 h 4863"/>
              <a:gd name="T10" fmla="*/ 569 w 4330"/>
              <a:gd name="T11" fmla="*/ 2768 h 4863"/>
              <a:gd name="T12" fmla="*/ 1079 w 4330"/>
              <a:gd name="T13" fmla="*/ 2768 h 4863"/>
              <a:gd name="T14" fmla="*/ 1327 w 4330"/>
              <a:gd name="T15" fmla="*/ 2911 h 4863"/>
              <a:gd name="T16" fmla="*/ 2231 w 4330"/>
              <a:gd name="T17" fmla="*/ 4466 h 4863"/>
              <a:gd name="T18" fmla="*/ 3712 w 4330"/>
              <a:gd name="T19" fmla="*/ 4863 h 4863"/>
              <a:gd name="T20" fmla="*/ 4330 w 4330"/>
              <a:gd name="T21" fmla="*/ 2556 h 4863"/>
              <a:gd name="T22" fmla="*/ 3011 w 4330"/>
              <a:gd name="T23" fmla="*/ 272 h 4863"/>
              <a:gd name="T24" fmla="*/ 2509 w 4330"/>
              <a:gd name="T25" fmla="*/ 0 h 48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330" h="4863">
                <a:moveTo>
                  <a:pt x="2509" y="0"/>
                </a:moveTo>
                <a:cubicBezTo>
                  <a:pt x="0" y="0"/>
                  <a:pt x="0" y="0"/>
                  <a:pt x="0" y="0"/>
                </a:cubicBezTo>
                <a:cubicBezTo>
                  <a:pt x="1515" y="1515"/>
                  <a:pt x="1515" y="1515"/>
                  <a:pt x="1515" y="1515"/>
                </a:cubicBezTo>
                <a:cubicBezTo>
                  <a:pt x="1668" y="1669"/>
                  <a:pt x="1668" y="1669"/>
                  <a:pt x="1668" y="1669"/>
                </a:cubicBezTo>
                <a:cubicBezTo>
                  <a:pt x="1515" y="1821"/>
                  <a:pt x="1515" y="1821"/>
                  <a:pt x="1515" y="1821"/>
                </a:cubicBezTo>
                <a:cubicBezTo>
                  <a:pt x="569" y="2768"/>
                  <a:pt x="569" y="2768"/>
                  <a:pt x="569" y="2768"/>
                </a:cubicBezTo>
                <a:cubicBezTo>
                  <a:pt x="1079" y="2768"/>
                  <a:pt x="1079" y="2768"/>
                  <a:pt x="1079" y="2768"/>
                </a:cubicBezTo>
                <a:cubicBezTo>
                  <a:pt x="1170" y="2768"/>
                  <a:pt x="1282" y="2833"/>
                  <a:pt x="1327" y="2911"/>
                </a:cubicBezTo>
                <a:cubicBezTo>
                  <a:pt x="2231" y="4466"/>
                  <a:pt x="2231" y="4466"/>
                  <a:pt x="2231" y="4466"/>
                </a:cubicBezTo>
                <a:cubicBezTo>
                  <a:pt x="3712" y="4863"/>
                  <a:pt x="3712" y="4863"/>
                  <a:pt x="3712" y="4863"/>
                </a:cubicBezTo>
                <a:cubicBezTo>
                  <a:pt x="4330" y="2556"/>
                  <a:pt x="4330" y="2556"/>
                  <a:pt x="4330" y="2556"/>
                </a:cubicBezTo>
                <a:cubicBezTo>
                  <a:pt x="3011" y="272"/>
                  <a:pt x="3011" y="272"/>
                  <a:pt x="3011" y="272"/>
                </a:cubicBezTo>
                <a:cubicBezTo>
                  <a:pt x="2906" y="120"/>
                  <a:pt x="2688" y="0"/>
                  <a:pt x="2509" y="0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Freeform 97"/>
          <p:cNvSpPr>
            <a:spLocks/>
          </p:cNvSpPr>
          <p:nvPr/>
        </p:nvSpPr>
        <p:spPr bwMode="auto">
          <a:xfrm>
            <a:off x="-2" y="1367845"/>
            <a:ext cx="6812079" cy="1471583"/>
          </a:xfrm>
          <a:custGeom>
            <a:avLst/>
            <a:gdLst>
              <a:gd name="connsiteX0" fmla="*/ 0 w 6812079"/>
              <a:gd name="connsiteY0" fmla="*/ 0 h 1471583"/>
              <a:gd name="connsiteX1" fmla="*/ 1178015 w 6812079"/>
              <a:gd name="connsiteY1" fmla="*/ 0 h 1471583"/>
              <a:gd name="connsiteX2" fmla="*/ 1247651 w 6812079"/>
              <a:gd name="connsiteY2" fmla="*/ 0 h 1471583"/>
              <a:gd name="connsiteX3" fmla="*/ 5064958 w 6812079"/>
              <a:gd name="connsiteY3" fmla="*/ 0 h 1471583"/>
              <a:gd name="connsiteX4" fmla="*/ 5064956 w 6812079"/>
              <a:gd name="connsiteY4" fmla="*/ 3 h 1471583"/>
              <a:gd name="connsiteX5" fmla="*/ 5185586 w 6812079"/>
              <a:gd name="connsiteY5" fmla="*/ 3 h 1471583"/>
              <a:gd name="connsiteX6" fmla="*/ 6074721 w 6812079"/>
              <a:gd name="connsiteY6" fmla="*/ 3 h 1471583"/>
              <a:gd name="connsiteX7" fmla="*/ 6812079 w 6812079"/>
              <a:gd name="connsiteY7" fmla="*/ 737784 h 1471583"/>
              <a:gd name="connsiteX8" fmla="*/ 6326254 w 6812079"/>
              <a:gd name="connsiteY8" fmla="*/ 1224329 h 1471583"/>
              <a:gd name="connsiteX9" fmla="*/ 5530544 w 6812079"/>
              <a:gd name="connsiteY9" fmla="*/ 1224329 h 1471583"/>
              <a:gd name="connsiteX10" fmla="*/ 5420913 w 6812079"/>
              <a:gd name="connsiteY10" fmla="*/ 1287580 h 1471583"/>
              <a:gd name="connsiteX11" fmla="*/ 5313934 w 6812079"/>
              <a:gd name="connsiteY11" fmla="*/ 1471583 h 1471583"/>
              <a:gd name="connsiteX12" fmla="*/ 5162749 w 6812079"/>
              <a:gd name="connsiteY12" fmla="*/ 906748 h 1471583"/>
              <a:gd name="connsiteX13" fmla="*/ 5137994 w 6812079"/>
              <a:gd name="connsiteY13" fmla="*/ 814304 h 1471583"/>
              <a:gd name="connsiteX14" fmla="*/ 5045603 w 6812079"/>
              <a:gd name="connsiteY14" fmla="*/ 839074 h 1471583"/>
              <a:gd name="connsiteX15" fmla="*/ 4129423 w 6812079"/>
              <a:gd name="connsiteY15" fmla="*/ 1084635 h 1471583"/>
              <a:gd name="connsiteX16" fmla="*/ 4117427 w 6812079"/>
              <a:gd name="connsiteY16" fmla="*/ 1098543 h 1471583"/>
              <a:gd name="connsiteX17" fmla="*/ 1247651 w 6812079"/>
              <a:gd name="connsiteY17" fmla="*/ 1098543 h 1471583"/>
              <a:gd name="connsiteX18" fmla="*/ 1178015 w 6812079"/>
              <a:gd name="connsiteY18" fmla="*/ 1098543 h 1471583"/>
              <a:gd name="connsiteX19" fmla="*/ 0 w 6812079"/>
              <a:gd name="connsiteY19" fmla="*/ 1098543 h 1471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812079" h="1471583">
                <a:moveTo>
                  <a:pt x="0" y="0"/>
                </a:moveTo>
                <a:lnTo>
                  <a:pt x="1178015" y="0"/>
                </a:lnTo>
                <a:lnTo>
                  <a:pt x="1247651" y="0"/>
                </a:lnTo>
                <a:lnTo>
                  <a:pt x="5064958" y="0"/>
                </a:lnTo>
                <a:lnTo>
                  <a:pt x="5064956" y="3"/>
                </a:lnTo>
                <a:lnTo>
                  <a:pt x="5185586" y="3"/>
                </a:lnTo>
                <a:cubicBezTo>
                  <a:pt x="5357899" y="3"/>
                  <a:pt x="5633600" y="3"/>
                  <a:pt x="6074721" y="3"/>
                </a:cubicBezTo>
                <a:cubicBezTo>
                  <a:pt x="6074721" y="3"/>
                  <a:pt x="6074721" y="3"/>
                  <a:pt x="6812079" y="737784"/>
                </a:cubicBezTo>
                <a:cubicBezTo>
                  <a:pt x="6812079" y="737784"/>
                  <a:pt x="6812079" y="737784"/>
                  <a:pt x="6326254" y="1224329"/>
                </a:cubicBezTo>
                <a:cubicBezTo>
                  <a:pt x="6326254" y="1224329"/>
                  <a:pt x="6326254" y="1224329"/>
                  <a:pt x="5530544" y="1224329"/>
                </a:cubicBezTo>
                <a:cubicBezTo>
                  <a:pt x="5490317" y="1224329"/>
                  <a:pt x="5440806" y="1253080"/>
                  <a:pt x="5420913" y="1287580"/>
                </a:cubicBezTo>
                <a:cubicBezTo>
                  <a:pt x="5420913" y="1287580"/>
                  <a:pt x="5420913" y="1287580"/>
                  <a:pt x="5313934" y="1471583"/>
                </a:cubicBezTo>
                <a:cubicBezTo>
                  <a:pt x="5313934" y="1471583"/>
                  <a:pt x="5313934" y="1471583"/>
                  <a:pt x="5162749" y="906748"/>
                </a:cubicBezTo>
                <a:cubicBezTo>
                  <a:pt x="5162749" y="906748"/>
                  <a:pt x="5162749" y="906748"/>
                  <a:pt x="5137994" y="814304"/>
                </a:cubicBezTo>
                <a:cubicBezTo>
                  <a:pt x="5137994" y="814304"/>
                  <a:pt x="5137994" y="814304"/>
                  <a:pt x="5045603" y="839074"/>
                </a:cubicBezTo>
                <a:lnTo>
                  <a:pt x="4129423" y="1084635"/>
                </a:lnTo>
                <a:lnTo>
                  <a:pt x="4117427" y="1098543"/>
                </a:lnTo>
                <a:lnTo>
                  <a:pt x="1247651" y="1098543"/>
                </a:lnTo>
                <a:lnTo>
                  <a:pt x="1178015" y="1098543"/>
                </a:lnTo>
                <a:lnTo>
                  <a:pt x="0" y="1098543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Freeform 17"/>
          <p:cNvSpPr>
            <a:spLocks/>
          </p:cNvSpPr>
          <p:nvPr/>
        </p:nvSpPr>
        <p:spPr bwMode="auto">
          <a:xfrm>
            <a:off x="3422912" y="2299212"/>
            <a:ext cx="1822182" cy="2507885"/>
          </a:xfrm>
          <a:custGeom>
            <a:avLst/>
            <a:gdLst>
              <a:gd name="T0" fmla="*/ 3210 w 4121"/>
              <a:gd name="T1" fmla="*/ 3339 h 5673"/>
              <a:gd name="T2" fmla="*/ 3210 w 4121"/>
              <a:gd name="T3" fmla="*/ 3054 h 5673"/>
              <a:gd name="T4" fmla="*/ 4121 w 4121"/>
              <a:gd name="T5" fmla="*/ 1485 h 5673"/>
              <a:gd name="T6" fmla="*/ 3724 w 4121"/>
              <a:gd name="T7" fmla="*/ 0 h 5673"/>
              <a:gd name="T8" fmla="*/ 1417 w 4121"/>
              <a:gd name="T9" fmla="*/ 618 h 5673"/>
              <a:gd name="T10" fmla="*/ 30 w 4121"/>
              <a:gd name="T11" fmla="*/ 3021 h 5673"/>
              <a:gd name="T12" fmla="*/ 26 w 4121"/>
              <a:gd name="T13" fmla="*/ 3361 h 5673"/>
              <a:gd name="T14" fmla="*/ 1361 w 4121"/>
              <a:gd name="T15" fmla="*/ 5673 h 5673"/>
              <a:gd name="T16" fmla="*/ 1923 w 4121"/>
              <a:gd name="T17" fmla="*/ 3576 h 5673"/>
              <a:gd name="T18" fmla="*/ 1979 w 4121"/>
              <a:gd name="T19" fmla="*/ 3367 h 5673"/>
              <a:gd name="T20" fmla="*/ 2188 w 4121"/>
              <a:gd name="T21" fmla="*/ 3423 h 5673"/>
              <a:gd name="T22" fmla="*/ 3456 w 4121"/>
              <a:gd name="T23" fmla="*/ 3763 h 5673"/>
              <a:gd name="T24" fmla="*/ 3210 w 4121"/>
              <a:gd name="T25" fmla="*/ 3339 h 56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21" h="5673">
                <a:moveTo>
                  <a:pt x="3210" y="3339"/>
                </a:moveTo>
                <a:cubicBezTo>
                  <a:pt x="3164" y="3260"/>
                  <a:pt x="3164" y="3132"/>
                  <a:pt x="3210" y="3054"/>
                </a:cubicBezTo>
                <a:cubicBezTo>
                  <a:pt x="4121" y="1485"/>
                  <a:pt x="4121" y="1485"/>
                  <a:pt x="4121" y="1485"/>
                </a:cubicBezTo>
                <a:cubicBezTo>
                  <a:pt x="3724" y="0"/>
                  <a:pt x="3724" y="0"/>
                  <a:pt x="3724" y="0"/>
                </a:cubicBezTo>
                <a:cubicBezTo>
                  <a:pt x="1417" y="618"/>
                  <a:pt x="1417" y="618"/>
                  <a:pt x="1417" y="618"/>
                </a:cubicBezTo>
                <a:cubicBezTo>
                  <a:pt x="30" y="3021"/>
                  <a:pt x="30" y="3021"/>
                  <a:pt x="30" y="3021"/>
                </a:cubicBezTo>
                <a:cubicBezTo>
                  <a:pt x="1" y="3129"/>
                  <a:pt x="0" y="3252"/>
                  <a:pt x="26" y="3361"/>
                </a:cubicBezTo>
                <a:cubicBezTo>
                  <a:pt x="1361" y="5673"/>
                  <a:pt x="1361" y="5673"/>
                  <a:pt x="1361" y="5673"/>
                </a:cubicBezTo>
                <a:cubicBezTo>
                  <a:pt x="1923" y="3576"/>
                  <a:pt x="1923" y="3576"/>
                  <a:pt x="1923" y="3576"/>
                </a:cubicBezTo>
                <a:cubicBezTo>
                  <a:pt x="1979" y="3367"/>
                  <a:pt x="1979" y="3367"/>
                  <a:pt x="1979" y="3367"/>
                </a:cubicBezTo>
                <a:cubicBezTo>
                  <a:pt x="2188" y="3423"/>
                  <a:pt x="2188" y="3423"/>
                  <a:pt x="2188" y="3423"/>
                </a:cubicBezTo>
                <a:cubicBezTo>
                  <a:pt x="3456" y="3763"/>
                  <a:pt x="3456" y="3763"/>
                  <a:pt x="3456" y="3763"/>
                </a:cubicBezTo>
                <a:lnTo>
                  <a:pt x="3210" y="3339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Freeform 18"/>
          <p:cNvSpPr>
            <a:spLocks/>
          </p:cNvSpPr>
          <p:nvPr/>
        </p:nvSpPr>
        <p:spPr bwMode="auto">
          <a:xfrm>
            <a:off x="4093116" y="3905546"/>
            <a:ext cx="1914007" cy="2148935"/>
          </a:xfrm>
          <a:custGeom>
            <a:avLst/>
            <a:gdLst>
              <a:gd name="T0" fmla="*/ 4330 w 4330"/>
              <a:gd name="T1" fmla="*/ 4862 h 4862"/>
              <a:gd name="T2" fmla="*/ 2815 w 4330"/>
              <a:gd name="T3" fmla="*/ 3347 h 4862"/>
              <a:gd name="T4" fmla="*/ 2662 w 4330"/>
              <a:gd name="T5" fmla="*/ 3194 h 4862"/>
              <a:gd name="T6" fmla="*/ 2815 w 4330"/>
              <a:gd name="T7" fmla="*/ 3041 h 4862"/>
              <a:gd name="T8" fmla="*/ 3761 w 4330"/>
              <a:gd name="T9" fmla="*/ 2094 h 4862"/>
              <a:gd name="T10" fmla="*/ 3251 w 4330"/>
              <a:gd name="T11" fmla="*/ 2094 h 4862"/>
              <a:gd name="T12" fmla="*/ 3003 w 4330"/>
              <a:gd name="T13" fmla="*/ 1954 h 4862"/>
              <a:gd name="T14" fmla="*/ 2096 w 4330"/>
              <a:gd name="T15" fmla="*/ 396 h 4862"/>
              <a:gd name="T16" fmla="*/ 618 w 4330"/>
              <a:gd name="T17" fmla="*/ 0 h 4862"/>
              <a:gd name="T18" fmla="*/ 0 w 4330"/>
              <a:gd name="T19" fmla="*/ 2306 h 4862"/>
              <a:gd name="T20" fmla="*/ 1335 w 4330"/>
              <a:gd name="T21" fmla="*/ 4617 h 4862"/>
              <a:gd name="T22" fmla="*/ 1821 w 4330"/>
              <a:gd name="T23" fmla="*/ 4862 h 4862"/>
              <a:gd name="T24" fmla="*/ 4330 w 4330"/>
              <a:gd name="T25" fmla="*/ 4862 h 48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330" h="4862">
                <a:moveTo>
                  <a:pt x="4330" y="4862"/>
                </a:moveTo>
                <a:cubicBezTo>
                  <a:pt x="2815" y="3347"/>
                  <a:pt x="2815" y="3347"/>
                  <a:pt x="2815" y="3347"/>
                </a:cubicBezTo>
                <a:cubicBezTo>
                  <a:pt x="2662" y="3194"/>
                  <a:pt x="2662" y="3194"/>
                  <a:pt x="2662" y="3194"/>
                </a:cubicBezTo>
                <a:cubicBezTo>
                  <a:pt x="2815" y="3041"/>
                  <a:pt x="2815" y="3041"/>
                  <a:pt x="2815" y="3041"/>
                </a:cubicBezTo>
                <a:cubicBezTo>
                  <a:pt x="3761" y="2094"/>
                  <a:pt x="3761" y="2094"/>
                  <a:pt x="3761" y="2094"/>
                </a:cubicBezTo>
                <a:cubicBezTo>
                  <a:pt x="3251" y="2094"/>
                  <a:pt x="3251" y="2094"/>
                  <a:pt x="3251" y="2094"/>
                </a:cubicBezTo>
                <a:cubicBezTo>
                  <a:pt x="3160" y="2094"/>
                  <a:pt x="3048" y="2032"/>
                  <a:pt x="3003" y="1954"/>
                </a:cubicBezTo>
                <a:cubicBezTo>
                  <a:pt x="2096" y="396"/>
                  <a:pt x="2096" y="396"/>
                  <a:pt x="2096" y="396"/>
                </a:cubicBezTo>
                <a:cubicBezTo>
                  <a:pt x="618" y="0"/>
                  <a:pt x="618" y="0"/>
                  <a:pt x="618" y="0"/>
                </a:cubicBezTo>
                <a:cubicBezTo>
                  <a:pt x="0" y="2306"/>
                  <a:pt x="0" y="2306"/>
                  <a:pt x="0" y="2306"/>
                </a:cubicBezTo>
                <a:cubicBezTo>
                  <a:pt x="1335" y="4617"/>
                  <a:pt x="1335" y="4617"/>
                  <a:pt x="1335" y="4617"/>
                </a:cubicBezTo>
                <a:cubicBezTo>
                  <a:pt x="1444" y="4758"/>
                  <a:pt x="1650" y="4862"/>
                  <a:pt x="1821" y="4862"/>
                </a:cubicBezTo>
                <a:lnTo>
                  <a:pt x="4330" y="4862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Freeform 19"/>
          <p:cNvSpPr>
            <a:spLocks/>
          </p:cNvSpPr>
          <p:nvPr/>
        </p:nvSpPr>
        <p:spPr bwMode="auto">
          <a:xfrm>
            <a:off x="5404893" y="4584091"/>
            <a:ext cx="2695112" cy="1470387"/>
          </a:xfrm>
          <a:custGeom>
            <a:avLst/>
            <a:gdLst>
              <a:gd name="T0" fmla="*/ 3997 w 6094"/>
              <a:gd name="T1" fmla="*/ 1428 h 3325"/>
              <a:gd name="T2" fmla="*/ 3788 w 6094"/>
              <a:gd name="T3" fmla="*/ 1484 h 3325"/>
              <a:gd name="T4" fmla="*/ 3732 w 6094"/>
              <a:gd name="T5" fmla="*/ 1275 h 3325"/>
              <a:gd name="T6" fmla="*/ 3390 w 6094"/>
              <a:gd name="T7" fmla="*/ 0 h 3325"/>
              <a:gd name="T8" fmla="*/ 3147 w 6094"/>
              <a:gd name="T9" fmla="*/ 417 h 3325"/>
              <a:gd name="T10" fmla="*/ 2899 w 6094"/>
              <a:gd name="T11" fmla="*/ 557 h 3325"/>
              <a:gd name="T12" fmla="*/ 1099 w 6094"/>
              <a:gd name="T13" fmla="*/ 557 h 3325"/>
              <a:gd name="T14" fmla="*/ 0 w 6094"/>
              <a:gd name="T15" fmla="*/ 1656 h 3325"/>
              <a:gd name="T16" fmla="*/ 1668 w 6094"/>
              <a:gd name="T17" fmla="*/ 3325 h 3325"/>
              <a:gd name="T18" fmla="*/ 4329 w 6094"/>
              <a:gd name="T19" fmla="*/ 3325 h 3325"/>
              <a:gd name="T20" fmla="*/ 4815 w 6094"/>
              <a:gd name="T21" fmla="*/ 3080 h 3325"/>
              <a:gd name="T22" fmla="*/ 6094 w 6094"/>
              <a:gd name="T23" fmla="*/ 866 h 3325"/>
              <a:gd name="T24" fmla="*/ 3997 w 6094"/>
              <a:gd name="T25" fmla="*/ 1428 h 3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094" h="3325">
                <a:moveTo>
                  <a:pt x="3997" y="1428"/>
                </a:moveTo>
                <a:cubicBezTo>
                  <a:pt x="3788" y="1484"/>
                  <a:pt x="3788" y="1484"/>
                  <a:pt x="3788" y="1484"/>
                </a:cubicBezTo>
                <a:cubicBezTo>
                  <a:pt x="3732" y="1275"/>
                  <a:pt x="3732" y="1275"/>
                  <a:pt x="3732" y="1275"/>
                </a:cubicBezTo>
                <a:cubicBezTo>
                  <a:pt x="3390" y="0"/>
                  <a:pt x="3390" y="0"/>
                  <a:pt x="3390" y="0"/>
                </a:cubicBezTo>
                <a:cubicBezTo>
                  <a:pt x="3147" y="417"/>
                  <a:pt x="3147" y="417"/>
                  <a:pt x="3147" y="417"/>
                </a:cubicBezTo>
                <a:cubicBezTo>
                  <a:pt x="3102" y="495"/>
                  <a:pt x="2990" y="557"/>
                  <a:pt x="2899" y="557"/>
                </a:cubicBezTo>
                <a:cubicBezTo>
                  <a:pt x="1099" y="557"/>
                  <a:pt x="1099" y="557"/>
                  <a:pt x="1099" y="557"/>
                </a:cubicBezTo>
                <a:cubicBezTo>
                  <a:pt x="0" y="1656"/>
                  <a:pt x="0" y="1656"/>
                  <a:pt x="0" y="1656"/>
                </a:cubicBezTo>
                <a:cubicBezTo>
                  <a:pt x="1668" y="3325"/>
                  <a:pt x="1668" y="3325"/>
                  <a:pt x="1668" y="3325"/>
                </a:cubicBezTo>
                <a:cubicBezTo>
                  <a:pt x="4329" y="3325"/>
                  <a:pt x="4329" y="3325"/>
                  <a:pt x="4329" y="3325"/>
                </a:cubicBezTo>
                <a:cubicBezTo>
                  <a:pt x="4500" y="3325"/>
                  <a:pt x="4706" y="3221"/>
                  <a:pt x="4815" y="3080"/>
                </a:cubicBezTo>
                <a:cubicBezTo>
                  <a:pt x="6094" y="866"/>
                  <a:pt x="6094" y="866"/>
                  <a:pt x="6094" y="866"/>
                </a:cubicBezTo>
                <a:lnTo>
                  <a:pt x="3997" y="1428"/>
                </a:lnTo>
                <a:close/>
              </a:path>
            </a:pathLst>
          </a:custGeom>
          <a:solidFill>
            <a:srgbClr val="3B3939"/>
          </a:solidFill>
          <a:ln>
            <a:solidFill>
              <a:srgbClr val="647896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457200" y="1545364"/>
            <a:ext cx="2961304" cy="64633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just" defTabSz="914400" rtl="1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 smtClean="0">
                <a:solidFill>
                  <a:schemeClr val="bg1"/>
                </a:solidFill>
              </a:rPr>
              <a:t>Travail </a:t>
            </a:r>
            <a:r>
              <a:rPr lang="en-US" sz="2800" b="1" dirty="0" err="1" smtClean="0">
                <a:solidFill>
                  <a:schemeClr val="bg1"/>
                </a:solidFill>
              </a:rPr>
              <a:t>réalisé</a:t>
            </a:r>
            <a:r>
              <a:rPr lang="en-US" sz="2800" b="1" dirty="0" smtClean="0">
                <a:solidFill>
                  <a:schemeClr val="bg1"/>
                </a:solidFill>
              </a:rPr>
              <a:t>     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99" name="Group 98"/>
          <p:cNvGrpSpPr/>
          <p:nvPr/>
        </p:nvGrpSpPr>
        <p:grpSpPr>
          <a:xfrm>
            <a:off x="5872377" y="1923408"/>
            <a:ext cx="412474" cy="410182"/>
            <a:chOff x="7045325" y="1919288"/>
            <a:chExt cx="285750" cy="284162"/>
          </a:xfrm>
          <a:solidFill>
            <a:schemeClr val="bg1"/>
          </a:solidFill>
        </p:grpSpPr>
        <p:sp>
          <p:nvSpPr>
            <p:cNvPr id="100" name="Freeform 308"/>
            <p:cNvSpPr>
              <a:spLocks noEditPoints="1"/>
            </p:cNvSpPr>
            <p:nvPr/>
          </p:nvSpPr>
          <p:spPr bwMode="auto">
            <a:xfrm>
              <a:off x="7045325" y="1919288"/>
              <a:ext cx="285750" cy="284162"/>
            </a:xfrm>
            <a:custGeom>
              <a:avLst/>
              <a:gdLst>
                <a:gd name="T0" fmla="*/ 718 w 897"/>
                <a:gd name="T1" fmla="*/ 742 h 897"/>
                <a:gd name="T2" fmla="*/ 658 w 897"/>
                <a:gd name="T3" fmla="*/ 659 h 897"/>
                <a:gd name="T4" fmla="*/ 750 w 897"/>
                <a:gd name="T5" fmla="*/ 573 h 897"/>
                <a:gd name="T6" fmla="*/ 136 w 897"/>
                <a:gd name="T7" fmla="*/ 325 h 897"/>
                <a:gd name="T8" fmla="*/ 154 w 897"/>
                <a:gd name="T9" fmla="*/ 246 h 897"/>
                <a:gd name="T10" fmla="*/ 190 w 897"/>
                <a:gd name="T11" fmla="*/ 174 h 897"/>
                <a:gd name="T12" fmla="*/ 242 w 897"/>
                <a:gd name="T13" fmla="*/ 115 h 897"/>
                <a:gd name="T14" fmla="*/ 307 w 897"/>
                <a:gd name="T15" fmla="*/ 69 h 897"/>
                <a:gd name="T16" fmla="*/ 381 w 897"/>
                <a:gd name="T17" fmla="*/ 39 h 897"/>
                <a:gd name="T18" fmla="*/ 463 w 897"/>
                <a:gd name="T19" fmla="*/ 30 h 897"/>
                <a:gd name="T20" fmla="*/ 545 w 897"/>
                <a:gd name="T21" fmla="*/ 39 h 897"/>
                <a:gd name="T22" fmla="*/ 620 w 897"/>
                <a:gd name="T23" fmla="*/ 69 h 897"/>
                <a:gd name="T24" fmla="*/ 684 w 897"/>
                <a:gd name="T25" fmla="*/ 115 h 897"/>
                <a:gd name="T26" fmla="*/ 735 w 897"/>
                <a:gd name="T27" fmla="*/ 174 h 897"/>
                <a:gd name="T28" fmla="*/ 772 w 897"/>
                <a:gd name="T29" fmla="*/ 246 h 897"/>
                <a:gd name="T30" fmla="*/ 790 w 897"/>
                <a:gd name="T31" fmla="*/ 325 h 897"/>
                <a:gd name="T32" fmla="*/ 788 w 897"/>
                <a:gd name="T33" fmla="*/ 408 h 897"/>
                <a:gd name="T34" fmla="*/ 766 w 897"/>
                <a:gd name="T35" fmla="*/ 486 h 897"/>
                <a:gd name="T36" fmla="*/ 727 w 897"/>
                <a:gd name="T37" fmla="*/ 555 h 897"/>
                <a:gd name="T38" fmla="*/ 672 w 897"/>
                <a:gd name="T39" fmla="*/ 612 h 897"/>
                <a:gd name="T40" fmla="*/ 606 w 897"/>
                <a:gd name="T41" fmla="*/ 654 h 897"/>
                <a:gd name="T42" fmla="*/ 529 w 897"/>
                <a:gd name="T43" fmla="*/ 681 h 897"/>
                <a:gd name="T44" fmla="*/ 447 w 897"/>
                <a:gd name="T45" fmla="*/ 686 h 897"/>
                <a:gd name="T46" fmla="*/ 365 w 897"/>
                <a:gd name="T47" fmla="*/ 672 h 897"/>
                <a:gd name="T48" fmla="*/ 293 w 897"/>
                <a:gd name="T49" fmla="*/ 639 h 897"/>
                <a:gd name="T50" fmla="*/ 231 w 897"/>
                <a:gd name="T51" fmla="*/ 591 h 897"/>
                <a:gd name="T52" fmla="*/ 182 w 897"/>
                <a:gd name="T53" fmla="*/ 529 h 897"/>
                <a:gd name="T54" fmla="*/ 149 w 897"/>
                <a:gd name="T55" fmla="*/ 456 h 897"/>
                <a:gd name="T56" fmla="*/ 134 w 897"/>
                <a:gd name="T57" fmla="*/ 375 h 897"/>
                <a:gd name="T58" fmla="*/ 176 w 897"/>
                <a:gd name="T59" fmla="*/ 738 h 897"/>
                <a:gd name="T60" fmla="*/ 163 w 897"/>
                <a:gd name="T61" fmla="*/ 555 h 897"/>
                <a:gd name="T62" fmla="*/ 254 w 897"/>
                <a:gd name="T63" fmla="*/ 650 h 897"/>
                <a:gd name="T64" fmla="*/ 895 w 897"/>
                <a:gd name="T65" fmla="*/ 754 h 897"/>
                <a:gd name="T66" fmla="*/ 808 w 897"/>
                <a:gd name="T67" fmla="*/ 457 h 897"/>
                <a:gd name="T68" fmla="*/ 821 w 897"/>
                <a:gd name="T69" fmla="*/ 340 h 897"/>
                <a:gd name="T70" fmla="*/ 806 w 897"/>
                <a:gd name="T71" fmla="*/ 252 h 897"/>
                <a:gd name="T72" fmla="*/ 770 w 897"/>
                <a:gd name="T73" fmla="*/ 172 h 897"/>
                <a:gd name="T74" fmla="*/ 716 w 897"/>
                <a:gd name="T75" fmla="*/ 104 h 897"/>
                <a:gd name="T76" fmla="*/ 649 w 897"/>
                <a:gd name="T77" fmla="*/ 51 h 897"/>
                <a:gd name="T78" fmla="*/ 570 w 897"/>
                <a:gd name="T79" fmla="*/ 16 h 897"/>
                <a:gd name="T80" fmla="*/ 482 w 897"/>
                <a:gd name="T81" fmla="*/ 0 h 897"/>
                <a:gd name="T82" fmla="*/ 391 w 897"/>
                <a:gd name="T83" fmla="*/ 7 h 897"/>
                <a:gd name="T84" fmla="*/ 308 w 897"/>
                <a:gd name="T85" fmla="*/ 35 h 897"/>
                <a:gd name="T86" fmla="*/ 235 w 897"/>
                <a:gd name="T87" fmla="*/ 81 h 897"/>
                <a:gd name="T88" fmla="*/ 176 w 897"/>
                <a:gd name="T89" fmla="*/ 144 h 897"/>
                <a:gd name="T90" fmla="*/ 132 w 897"/>
                <a:gd name="T91" fmla="*/ 219 h 897"/>
                <a:gd name="T92" fmla="*/ 109 w 897"/>
                <a:gd name="T93" fmla="*/ 303 h 897"/>
                <a:gd name="T94" fmla="*/ 107 w 897"/>
                <a:gd name="T95" fmla="*/ 403 h 897"/>
                <a:gd name="T96" fmla="*/ 137 w 897"/>
                <a:gd name="T97" fmla="*/ 505 h 897"/>
                <a:gd name="T98" fmla="*/ 1 w 897"/>
                <a:gd name="T99" fmla="*/ 781 h 897"/>
                <a:gd name="T100" fmla="*/ 18 w 897"/>
                <a:gd name="T101" fmla="*/ 791 h 897"/>
                <a:gd name="T102" fmla="*/ 203 w 897"/>
                <a:gd name="T103" fmla="*/ 895 h 897"/>
                <a:gd name="T104" fmla="*/ 216 w 897"/>
                <a:gd name="T105" fmla="*/ 895 h 897"/>
                <a:gd name="T106" fmla="*/ 407 w 897"/>
                <a:gd name="T107" fmla="*/ 713 h 897"/>
                <a:gd name="T108" fmla="*/ 488 w 897"/>
                <a:gd name="T109" fmla="*/ 716 h 897"/>
                <a:gd name="T110" fmla="*/ 676 w 897"/>
                <a:gd name="T111" fmla="*/ 893 h 897"/>
                <a:gd name="T112" fmla="*/ 688 w 897"/>
                <a:gd name="T113" fmla="*/ 896 h 897"/>
                <a:gd name="T114" fmla="*/ 743 w 897"/>
                <a:gd name="T115" fmla="*/ 763 h 897"/>
                <a:gd name="T116" fmla="*/ 895 w 897"/>
                <a:gd name="T117" fmla="*/ 770 h 897"/>
                <a:gd name="T118" fmla="*/ 895 w 897"/>
                <a:gd name="T119" fmla="*/ 754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97" h="897">
                  <a:moveTo>
                    <a:pt x="733" y="732"/>
                  </a:moveTo>
                  <a:lnTo>
                    <a:pt x="729" y="732"/>
                  </a:lnTo>
                  <a:lnTo>
                    <a:pt x="724" y="734"/>
                  </a:lnTo>
                  <a:lnTo>
                    <a:pt x="720" y="738"/>
                  </a:lnTo>
                  <a:lnTo>
                    <a:pt x="718" y="742"/>
                  </a:lnTo>
                  <a:lnTo>
                    <a:pt x="682" y="847"/>
                  </a:lnTo>
                  <a:lnTo>
                    <a:pt x="590" y="694"/>
                  </a:lnTo>
                  <a:lnTo>
                    <a:pt x="614" y="684"/>
                  </a:lnTo>
                  <a:lnTo>
                    <a:pt x="636" y="672"/>
                  </a:lnTo>
                  <a:lnTo>
                    <a:pt x="658" y="659"/>
                  </a:lnTo>
                  <a:lnTo>
                    <a:pt x="679" y="645"/>
                  </a:lnTo>
                  <a:lnTo>
                    <a:pt x="699" y="628"/>
                  </a:lnTo>
                  <a:lnTo>
                    <a:pt x="717" y="611"/>
                  </a:lnTo>
                  <a:lnTo>
                    <a:pt x="734" y="592"/>
                  </a:lnTo>
                  <a:lnTo>
                    <a:pt x="750" y="573"/>
                  </a:lnTo>
                  <a:lnTo>
                    <a:pt x="853" y="744"/>
                  </a:lnTo>
                  <a:lnTo>
                    <a:pt x="733" y="732"/>
                  </a:lnTo>
                  <a:close/>
                  <a:moveTo>
                    <a:pt x="134" y="358"/>
                  </a:moveTo>
                  <a:lnTo>
                    <a:pt x="134" y="341"/>
                  </a:lnTo>
                  <a:lnTo>
                    <a:pt x="136" y="325"/>
                  </a:lnTo>
                  <a:lnTo>
                    <a:pt x="138" y="308"/>
                  </a:lnTo>
                  <a:lnTo>
                    <a:pt x="141" y="292"/>
                  </a:lnTo>
                  <a:lnTo>
                    <a:pt x="144" y="276"/>
                  </a:lnTo>
                  <a:lnTo>
                    <a:pt x="149" y="261"/>
                  </a:lnTo>
                  <a:lnTo>
                    <a:pt x="154" y="246"/>
                  </a:lnTo>
                  <a:lnTo>
                    <a:pt x="160" y="231"/>
                  </a:lnTo>
                  <a:lnTo>
                    <a:pt x="167" y="216"/>
                  </a:lnTo>
                  <a:lnTo>
                    <a:pt x="174" y="202"/>
                  </a:lnTo>
                  <a:lnTo>
                    <a:pt x="182" y="188"/>
                  </a:lnTo>
                  <a:lnTo>
                    <a:pt x="190" y="174"/>
                  </a:lnTo>
                  <a:lnTo>
                    <a:pt x="200" y="161"/>
                  </a:lnTo>
                  <a:lnTo>
                    <a:pt x="209" y="149"/>
                  </a:lnTo>
                  <a:lnTo>
                    <a:pt x="220" y="138"/>
                  </a:lnTo>
                  <a:lnTo>
                    <a:pt x="231" y="126"/>
                  </a:lnTo>
                  <a:lnTo>
                    <a:pt x="242" y="115"/>
                  </a:lnTo>
                  <a:lnTo>
                    <a:pt x="254" y="104"/>
                  </a:lnTo>
                  <a:lnTo>
                    <a:pt x="266" y="95"/>
                  </a:lnTo>
                  <a:lnTo>
                    <a:pt x="280" y="85"/>
                  </a:lnTo>
                  <a:lnTo>
                    <a:pt x="293" y="77"/>
                  </a:lnTo>
                  <a:lnTo>
                    <a:pt x="307" y="69"/>
                  </a:lnTo>
                  <a:lnTo>
                    <a:pt x="321" y="62"/>
                  </a:lnTo>
                  <a:lnTo>
                    <a:pt x="335" y="55"/>
                  </a:lnTo>
                  <a:lnTo>
                    <a:pt x="350" y="49"/>
                  </a:lnTo>
                  <a:lnTo>
                    <a:pt x="365" y="45"/>
                  </a:lnTo>
                  <a:lnTo>
                    <a:pt x="381" y="39"/>
                  </a:lnTo>
                  <a:lnTo>
                    <a:pt x="396" y="36"/>
                  </a:lnTo>
                  <a:lnTo>
                    <a:pt x="414" y="33"/>
                  </a:lnTo>
                  <a:lnTo>
                    <a:pt x="430" y="31"/>
                  </a:lnTo>
                  <a:lnTo>
                    <a:pt x="447" y="30"/>
                  </a:lnTo>
                  <a:lnTo>
                    <a:pt x="463" y="30"/>
                  </a:lnTo>
                  <a:lnTo>
                    <a:pt x="480" y="30"/>
                  </a:lnTo>
                  <a:lnTo>
                    <a:pt x="497" y="31"/>
                  </a:lnTo>
                  <a:lnTo>
                    <a:pt x="513" y="33"/>
                  </a:lnTo>
                  <a:lnTo>
                    <a:pt x="529" y="36"/>
                  </a:lnTo>
                  <a:lnTo>
                    <a:pt x="545" y="39"/>
                  </a:lnTo>
                  <a:lnTo>
                    <a:pt x="561" y="45"/>
                  </a:lnTo>
                  <a:lnTo>
                    <a:pt x="576" y="49"/>
                  </a:lnTo>
                  <a:lnTo>
                    <a:pt x="591" y="55"/>
                  </a:lnTo>
                  <a:lnTo>
                    <a:pt x="606" y="62"/>
                  </a:lnTo>
                  <a:lnTo>
                    <a:pt x="620" y="69"/>
                  </a:lnTo>
                  <a:lnTo>
                    <a:pt x="634" y="77"/>
                  </a:lnTo>
                  <a:lnTo>
                    <a:pt x="647" y="85"/>
                  </a:lnTo>
                  <a:lnTo>
                    <a:pt x="660" y="95"/>
                  </a:lnTo>
                  <a:lnTo>
                    <a:pt x="672" y="104"/>
                  </a:lnTo>
                  <a:lnTo>
                    <a:pt x="684" y="115"/>
                  </a:lnTo>
                  <a:lnTo>
                    <a:pt x="696" y="126"/>
                  </a:lnTo>
                  <a:lnTo>
                    <a:pt x="707" y="138"/>
                  </a:lnTo>
                  <a:lnTo>
                    <a:pt x="717" y="149"/>
                  </a:lnTo>
                  <a:lnTo>
                    <a:pt x="727" y="161"/>
                  </a:lnTo>
                  <a:lnTo>
                    <a:pt x="735" y="174"/>
                  </a:lnTo>
                  <a:lnTo>
                    <a:pt x="744" y="188"/>
                  </a:lnTo>
                  <a:lnTo>
                    <a:pt x="753" y="202"/>
                  </a:lnTo>
                  <a:lnTo>
                    <a:pt x="760" y="216"/>
                  </a:lnTo>
                  <a:lnTo>
                    <a:pt x="766" y="231"/>
                  </a:lnTo>
                  <a:lnTo>
                    <a:pt x="772" y="246"/>
                  </a:lnTo>
                  <a:lnTo>
                    <a:pt x="777" y="261"/>
                  </a:lnTo>
                  <a:lnTo>
                    <a:pt x="781" y="277"/>
                  </a:lnTo>
                  <a:lnTo>
                    <a:pt x="786" y="292"/>
                  </a:lnTo>
                  <a:lnTo>
                    <a:pt x="788" y="309"/>
                  </a:lnTo>
                  <a:lnTo>
                    <a:pt x="790" y="325"/>
                  </a:lnTo>
                  <a:lnTo>
                    <a:pt x="792" y="341"/>
                  </a:lnTo>
                  <a:lnTo>
                    <a:pt x="792" y="358"/>
                  </a:lnTo>
                  <a:lnTo>
                    <a:pt x="792" y="375"/>
                  </a:lnTo>
                  <a:lnTo>
                    <a:pt x="790" y="392"/>
                  </a:lnTo>
                  <a:lnTo>
                    <a:pt x="788" y="408"/>
                  </a:lnTo>
                  <a:lnTo>
                    <a:pt x="786" y="424"/>
                  </a:lnTo>
                  <a:lnTo>
                    <a:pt x="781" y="440"/>
                  </a:lnTo>
                  <a:lnTo>
                    <a:pt x="777" y="456"/>
                  </a:lnTo>
                  <a:lnTo>
                    <a:pt x="772" y="471"/>
                  </a:lnTo>
                  <a:lnTo>
                    <a:pt x="766" y="486"/>
                  </a:lnTo>
                  <a:lnTo>
                    <a:pt x="760" y="500"/>
                  </a:lnTo>
                  <a:lnTo>
                    <a:pt x="753" y="515"/>
                  </a:lnTo>
                  <a:lnTo>
                    <a:pt x="744" y="529"/>
                  </a:lnTo>
                  <a:lnTo>
                    <a:pt x="735" y="542"/>
                  </a:lnTo>
                  <a:lnTo>
                    <a:pt x="727" y="555"/>
                  </a:lnTo>
                  <a:lnTo>
                    <a:pt x="717" y="567"/>
                  </a:lnTo>
                  <a:lnTo>
                    <a:pt x="707" y="579"/>
                  </a:lnTo>
                  <a:lnTo>
                    <a:pt x="696" y="591"/>
                  </a:lnTo>
                  <a:lnTo>
                    <a:pt x="684" y="602"/>
                  </a:lnTo>
                  <a:lnTo>
                    <a:pt x="672" y="612"/>
                  </a:lnTo>
                  <a:lnTo>
                    <a:pt x="660" y="622"/>
                  </a:lnTo>
                  <a:lnTo>
                    <a:pt x="647" y="631"/>
                  </a:lnTo>
                  <a:lnTo>
                    <a:pt x="634" y="639"/>
                  </a:lnTo>
                  <a:lnTo>
                    <a:pt x="620" y="648"/>
                  </a:lnTo>
                  <a:lnTo>
                    <a:pt x="606" y="654"/>
                  </a:lnTo>
                  <a:lnTo>
                    <a:pt x="591" y="662"/>
                  </a:lnTo>
                  <a:lnTo>
                    <a:pt x="576" y="667"/>
                  </a:lnTo>
                  <a:lnTo>
                    <a:pt x="561" y="672"/>
                  </a:lnTo>
                  <a:lnTo>
                    <a:pt x="545" y="677"/>
                  </a:lnTo>
                  <a:lnTo>
                    <a:pt x="529" y="681"/>
                  </a:lnTo>
                  <a:lnTo>
                    <a:pt x="513" y="683"/>
                  </a:lnTo>
                  <a:lnTo>
                    <a:pt x="497" y="685"/>
                  </a:lnTo>
                  <a:lnTo>
                    <a:pt x="480" y="686"/>
                  </a:lnTo>
                  <a:lnTo>
                    <a:pt x="463" y="687"/>
                  </a:lnTo>
                  <a:lnTo>
                    <a:pt x="447" y="686"/>
                  </a:lnTo>
                  <a:lnTo>
                    <a:pt x="430" y="685"/>
                  </a:lnTo>
                  <a:lnTo>
                    <a:pt x="414" y="683"/>
                  </a:lnTo>
                  <a:lnTo>
                    <a:pt x="396" y="681"/>
                  </a:lnTo>
                  <a:lnTo>
                    <a:pt x="381" y="677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21" y="654"/>
                  </a:lnTo>
                  <a:lnTo>
                    <a:pt x="307" y="648"/>
                  </a:lnTo>
                  <a:lnTo>
                    <a:pt x="293" y="639"/>
                  </a:lnTo>
                  <a:lnTo>
                    <a:pt x="280" y="631"/>
                  </a:lnTo>
                  <a:lnTo>
                    <a:pt x="266" y="622"/>
                  </a:lnTo>
                  <a:lnTo>
                    <a:pt x="254" y="612"/>
                  </a:lnTo>
                  <a:lnTo>
                    <a:pt x="242" y="602"/>
                  </a:lnTo>
                  <a:lnTo>
                    <a:pt x="231" y="591"/>
                  </a:lnTo>
                  <a:lnTo>
                    <a:pt x="220" y="579"/>
                  </a:lnTo>
                  <a:lnTo>
                    <a:pt x="209" y="567"/>
                  </a:lnTo>
                  <a:lnTo>
                    <a:pt x="200" y="555"/>
                  </a:lnTo>
                  <a:lnTo>
                    <a:pt x="190" y="542"/>
                  </a:lnTo>
                  <a:lnTo>
                    <a:pt x="182" y="529"/>
                  </a:lnTo>
                  <a:lnTo>
                    <a:pt x="174" y="515"/>
                  </a:lnTo>
                  <a:lnTo>
                    <a:pt x="167" y="501"/>
                  </a:lnTo>
                  <a:lnTo>
                    <a:pt x="160" y="486"/>
                  </a:lnTo>
                  <a:lnTo>
                    <a:pt x="154" y="471"/>
                  </a:lnTo>
                  <a:lnTo>
                    <a:pt x="149" y="456"/>
                  </a:lnTo>
                  <a:lnTo>
                    <a:pt x="144" y="440"/>
                  </a:lnTo>
                  <a:lnTo>
                    <a:pt x="141" y="424"/>
                  </a:lnTo>
                  <a:lnTo>
                    <a:pt x="138" y="408"/>
                  </a:lnTo>
                  <a:lnTo>
                    <a:pt x="136" y="392"/>
                  </a:lnTo>
                  <a:lnTo>
                    <a:pt x="134" y="375"/>
                  </a:lnTo>
                  <a:lnTo>
                    <a:pt x="134" y="358"/>
                  </a:lnTo>
                  <a:lnTo>
                    <a:pt x="134" y="358"/>
                  </a:lnTo>
                  <a:close/>
                  <a:moveTo>
                    <a:pt x="214" y="849"/>
                  </a:moveTo>
                  <a:lnTo>
                    <a:pt x="178" y="742"/>
                  </a:lnTo>
                  <a:lnTo>
                    <a:pt x="176" y="738"/>
                  </a:lnTo>
                  <a:lnTo>
                    <a:pt x="172" y="734"/>
                  </a:lnTo>
                  <a:lnTo>
                    <a:pt x="167" y="732"/>
                  </a:lnTo>
                  <a:lnTo>
                    <a:pt x="161" y="732"/>
                  </a:lnTo>
                  <a:lnTo>
                    <a:pt x="45" y="756"/>
                  </a:lnTo>
                  <a:lnTo>
                    <a:pt x="163" y="555"/>
                  </a:lnTo>
                  <a:lnTo>
                    <a:pt x="178" y="576"/>
                  </a:lnTo>
                  <a:lnTo>
                    <a:pt x="195" y="596"/>
                  </a:lnTo>
                  <a:lnTo>
                    <a:pt x="214" y="616"/>
                  </a:lnTo>
                  <a:lnTo>
                    <a:pt x="233" y="634"/>
                  </a:lnTo>
                  <a:lnTo>
                    <a:pt x="254" y="650"/>
                  </a:lnTo>
                  <a:lnTo>
                    <a:pt x="277" y="665"/>
                  </a:lnTo>
                  <a:lnTo>
                    <a:pt x="300" y="678"/>
                  </a:lnTo>
                  <a:lnTo>
                    <a:pt x="324" y="689"/>
                  </a:lnTo>
                  <a:lnTo>
                    <a:pt x="214" y="849"/>
                  </a:lnTo>
                  <a:close/>
                  <a:moveTo>
                    <a:pt x="895" y="754"/>
                  </a:moveTo>
                  <a:lnTo>
                    <a:pt x="770" y="545"/>
                  </a:lnTo>
                  <a:lnTo>
                    <a:pt x="781" y="525"/>
                  </a:lnTo>
                  <a:lnTo>
                    <a:pt x="791" y="502"/>
                  </a:lnTo>
                  <a:lnTo>
                    <a:pt x="801" y="480"/>
                  </a:lnTo>
                  <a:lnTo>
                    <a:pt x="808" y="457"/>
                  </a:lnTo>
                  <a:lnTo>
                    <a:pt x="815" y="433"/>
                  </a:lnTo>
                  <a:lnTo>
                    <a:pt x="819" y="408"/>
                  </a:lnTo>
                  <a:lnTo>
                    <a:pt x="821" y="384"/>
                  </a:lnTo>
                  <a:lnTo>
                    <a:pt x="822" y="358"/>
                  </a:lnTo>
                  <a:lnTo>
                    <a:pt x="821" y="340"/>
                  </a:lnTo>
                  <a:lnTo>
                    <a:pt x="820" y="322"/>
                  </a:lnTo>
                  <a:lnTo>
                    <a:pt x="818" y="303"/>
                  </a:lnTo>
                  <a:lnTo>
                    <a:pt x="815" y="286"/>
                  </a:lnTo>
                  <a:lnTo>
                    <a:pt x="810" y="268"/>
                  </a:lnTo>
                  <a:lnTo>
                    <a:pt x="806" y="252"/>
                  </a:lnTo>
                  <a:lnTo>
                    <a:pt x="800" y="235"/>
                  </a:lnTo>
                  <a:lnTo>
                    <a:pt x="793" y="219"/>
                  </a:lnTo>
                  <a:lnTo>
                    <a:pt x="787" y="203"/>
                  </a:lnTo>
                  <a:lnTo>
                    <a:pt x="778" y="187"/>
                  </a:lnTo>
                  <a:lnTo>
                    <a:pt x="770" y="172"/>
                  </a:lnTo>
                  <a:lnTo>
                    <a:pt x="761" y="158"/>
                  </a:lnTo>
                  <a:lnTo>
                    <a:pt x="750" y="144"/>
                  </a:lnTo>
                  <a:lnTo>
                    <a:pt x="740" y="130"/>
                  </a:lnTo>
                  <a:lnTo>
                    <a:pt x="729" y="117"/>
                  </a:lnTo>
                  <a:lnTo>
                    <a:pt x="716" y="104"/>
                  </a:lnTo>
                  <a:lnTo>
                    <a:pt x="704" y="93"/>
                  </a:lnTo>
                  <a:lnTo>
                    <a:pt x="692" y="81"/>
                  </a:lnTo>
                  <a:lnTo>
                    <a:pt x="678" y="70"/>
                  </a:lnTo>
                  <a:lnTo>
                    <a:pt x="664" y="61"/>
                  </a:lnTo>
                  <a:lnTo>
                    <a:pt x="649" y="51"/>
                  </a:lnTo>
                  <a:lnTo>
                    <a:pt x="634" y="42"/>
                  </a:lnTo>
                  <a:lnTo>
                    <a:pt x="619" y="35"/>
                  </a:lnTo>
                  <a:lnTo>
                    <a:pt x="603" y="27"/>
                  </a:lnTo>
                  <a:lnTo>
                    <a:pt x="587" y="21"/>
                  </a:lnTo>
                  <a:lnTo>
                    <a:pt x="570" y="16"/>
                  </a:lnTo>
                  <a:lnTo>
                    <a:pt x="553" y="10"/>
                  </a:lnTo>
                  <a:lnTo>
                    <a:pt x="535" y="7"/>
                  </a:lnTo>
                  <a:lnTo>
                    <a:pt x="517" y="4"/>
                  </a:lnTo>
                  <a:lnTo>
                    <a:pt x="500" y="1"/>
                  </a:lnTo>
                  <a:lnTo>
                    <a:pt x="482" y="0"/>
                  </a:lnTo>
                  <a:lnTo>
                    <a:pt x="463" y="0"/>
                  </a:lnTo>
                  <a:lnTo>
                    <a:pt x="445" y="0"/>
                  </a:lnTo>
                  <a:lnTo>
                    <a:pt x="426" y="1"/>
                  </a:lnTo>
                  <a:lnTo>
                    <a:pt x="408" y="4"/>
                  </a:lnTo>
                  <a:lnTo>
                    <a:pt x="391" y="7"/>
                  </a:lnTo>
                  <a:lnTo>
                    <a:pt x="374" y="10"/>
                  </a:lnTo>
                  <a:lnTo>
                    <a:pt x="357" y="16"/>
                  </a:lnTo>
                  <a:lnTo>
                    <a:pt x="340" y="21"/>
                  </a:lnTo>
                  <a:lnTo>
                    <a:pt x="324" y="27"/>
                  </a:lnTo>
                  <a:lnTo>
                    <a:pt x="308" y="35"/>
                  </a:lnTo>
                  <a:lnTo>
                    <a:pt x="293" y="42"/>
                  </a:lnTo>
                  <a:lnTo>
                    <a:pt x="278" y="51"/>
                  </a:lnTo>
                  <a:lnTo>
                    <a:pt x="263" y="61"/>
                  </a:lnTo>
                  <a:lnTo>
                    <a:pt x="249" y="70"/>
                  </a:lnTo>
                  <a:lnTo>
                    <a:pt x="235" y="81"/>
                  </a:lnTo>
                  <a:lnTo>
                    <a:pt x="222" y="93"/>
                  </a:lnTo>
                  <a:lnTo>
                    <a:pt x="209" y="104"/>
                  </a:lnTo>
                  <a:lnTo>
                    <a:pt x="198" y="117"/>
                  </a:lnTo>
                  <a:lnTo>
                    <a:pt x="187" y="130"/>
                  </a:lnTo>
                  <a:lnTo>
                    <a:pt x="176" y="144"/>
                  </a:lnTo>
                  <a:lnTo>
                    <a:pt x="165" y="158"/>
                  </a:lnTo>
                  <a:lnTo>
                    <a:pt x="156" y="172"/>
                  </a:lnTo>
                  <a:lnTo>
                    <a:pt x="147" y="187"/>
                  </a:lnTo>
                  <a:lnTo>
                    <a:pt x="140" y="203"/>
                  </a:lnTo>
                  <a:lnTo>
                    <a:pt x="132" y="219"/>
                  </a:lnTo>
                  <a:lnTo>
                    <a:pt x="126" y="235"/>
                  </a:lnTo>
                  <a:lnTo>
                    <a:pt x="121" y="252"/>
                  </a:lnTo>
                  <a:lnTo>
                    <a:pt x="115" y="268"/>
                  </a:lnTo>
                  <a:lnTo>
                    <a:pt x="112" y="286"/>
                  </a:lnTo>
                  <a:lnTo>
                    <a:pt x="109" y="303"/>
                  </a:lnTo>
                  <a:lnTo>
                    <a:pt x="107" y="322"/>
                  </a:lnTo>
                  <a:lnTo>
                    <a:pt x="105" y="340"/>
                  </a:lnTo>
                  <a:lnTo>
                    <a:pt x="105" y="358"/>
                  </a:lnTo>
                  <a:lnTo>
                    <a:pt x="105" y="380"/>
                  </a:lnTo>
                  <a:lnTo>
                    <a:pt x="107" y="403"/>
                  </a:lnTo>
                  <a:lnTo>
                    <a:pt x="111" y="424"/>
                  </a:lnTo>
                  <a:lnTo>
                    <a:pt x="115" y="446"/>
                  </a:lnTo>
                  <a:lnTo>
                    <a:pt x="121" y="466"/>
                  </a:lnTo>
                  <a:lnTo>
                    <a:pt x="128" y="486"/>
                  </a:lnTo>
                  <a:lnTo>
                    <a:pt x="137" y="505"/>
                  </a:lnTo>
                  <a:lnTo>
                    <a:pt x="145" y="525"/>
                  </a:lnTo>
                  <a:lnTo>
                    <a:pt x="2" y="770"/>
                  </a:lnTo>
                  <a:lnTo>
                    <a:pt x="0" y="773"/>
                  </a:lnTo>
                  <a:lnTo>
                    <a:pt x="0" y="777"/>
                  </a:lnTo>
                  <a:lnTo>
                    <a:pt x="1" y="781"/>
                  </a:lnTo>
                  <a:lnTo>
                    <a:pt x="3" y="786"/>
                  </a:lnTo>
                  <a:lnTo>
                    <a:pt x="5" y="789"/>
                  </a:lnTo>
                  <a:lnTo>
                    <a:pt x="9" y="791"/>
                  </a:lnTo>
                  <a:lnTo>
                    <a:pt x="14" y="792"/>
                  </a:lnTo>
                  <a:lnTo>
                    <a:pt x="18" y="791"/>
                  </a:lnTo>
                  <a:lnTo>
                    <a:pt x="154" y="764"/>
                  </a:lnTo>
                  <a:lnTo>
                    <a:pt x="194" y="886"/>
                  </a:lnTo>
                  <a:lnTo>
                    <a:pt x="196" y="889"/>
                  </a:lnTo>
                  <a:lnTo>
                    <a:pt x="200" y="893"/>
                  </a:lnTo>
                  <a:lnTo>
                    <a:pt x="203" y="895"/>
                  </a:lnTo>
                  <a:lnTo>
                    <a:pt x="207" y="896"/>
                  </a:lnTo>
                  <a:lnTo>
                    <a:pt x="208" y="896"/>
                  </a:lnTo>
                  <a:lnTo>
                    <a:pt x="209" y="897"/>
                  </a:lnTo>
                  <a:lnTo>
                    <a:pt x="213" y="896"/>
                  </a:lnTo>
                  <a:lnTo>
                    <a:pt x="216" y="895"/>
                  </a:lnTo>
                  <a:lnTo>
                    <a:pt x="219" y="893"/>
                  </a:lnTo>
                  <a:lnTo>
                    <a:pt x="221" y="890"/>
                  </a:lnTo>
                  <a:lnTo>
                    <a:pt x="353" y="700"/>
                  </a:lnTo>
                  <a:lnTo>
                    <a:pt x="379" y="708"/>
                  </a:lnTo>
                  <a:lnTo>
                    <a:pt x="407" y="713"/>
                  </a:lnTo>
                  <a:lnTo>
                    <a:pt x="421" y="714"/>
                  </a:lnTo>
                  <a:lnTo>
                    <a:pt x="435" y="716"/>
                  </a:lnTo>
                  <a:lnTo>
                    <a:pt x="449" y="717"/>
                  </a:lnTo>
                  <a:lnTo>
                    <a:pt x="463" y="717"/>
                  </a:lnTo>
                  <a:lnTo>
                    <a:pt x="488" y="716"/>
                  </a:lnTo>
                  <a:lnTo>
                    <a:pt x="513" y="714"/>
                  </a:lnTo>
                  <a:lnTo>
                    <a:pt x="537" y="710"/>
                  </a:lnTo>
                  <a:lnTo>
                    <a:pt x="560" y="703"/>
                  </a:lnTo>
                  <a:lnTo>
                    <a:pt x="673" y="889"/>
                  </a:lnTo>
                  <a:lnTo>
                    <a:pt x="676" y="893"/>
                  </a:lnTo>
                  <a:lnTo>
                    <a:pt x="679" y="895"/>
                  </a:lnTo>
                  <a:lnTo>
                    <a:pt x="682" y="896"/>
                  </a:lnTo>
                  <a:lnTo>
                    <a:pt x="686" y="897"/>
                  </a:lnTo>
                  <a:lnTo>
                    <a:pt x="687" y="897"/>
                  </a:lnTo>
                  <a:lnTo>
                    <a:pt x="688" y="896"/>
                  </a:lnTo>
                  <a:lnTo>
                    <a:pt x="692" y="895"/>
                  </a:lnTo>
                  <a:lnTo>
                    <a:pt x="696" y="894"/>
                  </a:lnTo>
                  <a:lnTo>
                    <a:pt x="698" y="890"/>
                  </a:lnTo>
                  <a:lnTo>
                    <a:pt x="700" y="886"/>
                  </a:lnTo>
                  <a:lnTo>
                    <a:pt x="743" y="763"/>
                  </a:lnTo>
                  <a:lnTo>
                    <a:pt x="880" y="777"/>
                  </a:lnTo>
                  <a:lnTo>
                    <a:pt x="884" y="776"/>
                  </a:lnTo>
                  <a:lnTo>
                    <a:pt x="888" y="775"/>
                  </a:lnTo>
                  <a:lnTo>
                    <a:pt x="892" y="773"/>
                  </a:lnTo>
                  <a:lnTo>
                    <a:pt x="895" y="770"/>
                  </a:lnTo>
                  <a:lnTo>
                    <a:pt x="896" y="766"/>
                  </a:lnTo>
                  <a:lnTo>
                    <a:pt x="897" y="762"/>
                  </a:lnTo>
                  <a:lnTo>
                    <a:pt x="896" y="758"/>
                  </a:lnTo>
                  <a:lnTo>
                    <a:pt x="895" y="755"/>
                  </a:lnTo>
                  <a:lnTo>
                    <a:pt x="895" y="7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309"/>
            <p:cNvSpPr>
              <a:spLocks noEditPoints="1"/>
            </p:cNvSpPr>
            <p:nvPr/>
          </p:nvSpPr>
          <p:spPr bwMode="auto">
            <a:xfrm>
              <a:off x="7135813" y="1976438"/>
              <a:ext cx="114300" cy="114300"/>
            </a:xfrm>
            <a:custGeom>
              <a:avLst/>
              <a:gdLst>
                <a:gd name="T0" fmla="*/ 242 w 358"/>
                <a:gd name="T1" fmla="*/ 201 h 359"/>
                <a:gd name="T2" fmla="*/ 239 w 358"/>
                <a:gd name="T3" fmla="*/ 209 h 359"/>
                <a:gd name="T4" fmla="*/ 272 w 358"/>
                <a:gd name="T5" fmla="*/ 308 h 359"/>
                <a:gd name="T6" fmla="*/ 183 w 358"/>
                <a:gd name="T7" fmla="*/ 255 h 359"/>
                <a:gd name="T8" fmla="*/ 176 w 358"/>
                <a:gd name="T9" fmla="*/ 255 h 359"/>
                <a:gd name="T10" fmla="*/ 87 w 358"/>
                <a:gd name="T11" fmla="*/ 308 h 359"/>
                <a:gd name="T12" fmla="*/ 119 w 358"/>
                <a:gd name="T13" fmla="*/ 209 h 359"/>
                <a:gd name="T14" fmla="*/ 117 w 358"/>
                <a:gd name="T15" fmla="*/ 201 h 359"/>
                <a:gd name="T16" fmla="*/ 56 w 358"/>
                <a:gd name="T17" fmla="*/ 149 h 359"/>
                <a:gd name="T18" fmla="*/ 123 w 358"/>
                <a:gd name="T19" fmla="*/ 149 h 359"/>
                <a:gd name="T20" fmla="*/ 131 w 358"/>
                <a:gd name="T21" fmla="*/ 145 h 359"/>
                <a:gd name="T22" fmla="*/ 179 w 358"/>
                <a:gd name="T23" fmla="*/ 48 h 359"/>
                <a:gd name="T24" fmla="*/ 228 w 358"/>
                <a:gd name="T25" fmla="*/ 145 h 359"/>
                <a:gd name="T26" fmla="*/ 234 w 358"/>
                <a:gd name="T27" fmla="*/ 149 h 359"/>
                <a:gd name="T28" fmla="*/ 303 w 358"/>
                <a:gd name="T29" fmla="*/ 149 h 359"/>
                <a:gd name="T30" fmla="*/ 343 w 358"/>
                <a:gd name="T31" fmla="*/ 119 h 359"/>
                <a:gd name="T32" fmla="*/ 193 w 358"/>
                <a:gd name="T33" fmla="*/ 8 h 359"/>
                <a:gd name="T34" fmla="*/ 187 w 358"/>
                <a:gd name="T35" fmla="*/ 2 h 359"/>
                <a:gd name="T36" fmla="*/ 179 w 358"/>
                <a:gd name="T37" fmla="*/ 0 h 359"/>
                <a:gd name="T38" fmla="*/ 171 w 358"/>
                <a:gd name="T39" fmla="*/ 2 h 359"/>
                <a:gd name="T40" fmla="*/ 166 w 358"/>
                <a:gd name="T41" fmla="*/ 8 h 359"/>
                <a:gd name="T42" fmla="*/ 15 w 358"/>
                <a:gd name="T43" fmla="*/ 119 h 359"/>
                <a:gd name="T44" fmla="*/ 7 w 358"/>
                <a:gd name="T45" fmla="*/ 122 h 359"/>
                <a:gd name="T46" fmla="*/ 0 w 358"/>
                <a:gd name="T47" fmla="*/ 130 h 359"/>
                <a:gd name="T48" fmla="*/ 0 w 358"/>
                <a:gd name="T49" fmla="*/ 138 h 359"/>
                <a:gd name="T50" fmla="*/ 6 w 358"/>
                <a:gd name="T51" fmla="*/ 146 h 359"/>
                <a:gd name="T52" fmla="*/ 45 w 358"/>
                <a:gd name="T53" fmla="*/ 339 h 359"/>
                <a:gd name="T54" fmla="*/ 45 w 358"/>
                <a:gd name="T55" fmla="*/ 348 h 359"/>
                <a:gd name="T56" fmla="*/ 50 w 358"/>
                <a:gd name="T57" fmla="*/ 355 h 359"/>
                <a:gd name="T58" fmla="*/ 59 w 358"/>
                <a:gd name="T59" fmla="*/ 359 h 359"/>
                <a:gd name="T60" fmla="*/ 68 w 358"/>
                <a:gd name="T61" fmla="*/ 356 h 359"/>
                <a:gd name="T62" fmla="*/ 291 w 358"/>
                <a:gd name="T63" fmla="*/ 356 h 359"/>
                <a:gd name="T64" fmla="*/ 299 w 358"/>
                <a:gd name="T65" fmla="*/ 359 h 359"/>
                <a:gd name="T66" fmla="*/ 308 w 358"/>
                <a:gd name="T67" fmla="*/ 355 h 359"/>
                <a:gd name="T68" fmla="*/ 313 w 358"/>
                <a:gd name="T69" fmla="*/ 348 h 359"/>
                <a:gd name="T70" fmla="*/ 312 w 358"/>
                <a:gd name="T71" fmla="*/ 339 h 359"/>
                <a:gd name="T72" fmla="*/ 353 w 358"/>
                <a:gd name="T73" fmla="*/ 146 h 359"/>
                <a:gd name="T74" fmla="*/ 358 w 358"/>
                <a:gd name="T75" fmla="*/ 138 h 359"/>
                <a:gd name="T76" fmla="*/ 357 w 358"/>
                <a:gd name="T77" fmla="*/ 130 h 359"/>
                <a:gd name="T78" fmla="*/ 352 w 358"/>
                <a:gd name="T79" fmla="*/ 122 h 359"/>
                <a:gd name="T80" fmla="*/ 343 w 358"/>
                <a:gd name="T81" fmla="*/ 11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8" h="359">
                  <a:moveTo>
                    <a:pt x="244" y="197"/>
                  </a:moveTo>
                  <a:lnTo>
                    <a:pt x="242" y="201"/>
                  </a:lnTo>
                  <a:lnTo>
                    <a:pt x="240" y="205"/>
                  </a:lnTo>
                  <a:lnTo>
                    <a:pt x="239" y="209"/>
                  </a:lnTo>
                  <a:lnTo>
                    <a:pt x="240" y="214"/>
                  </a:lnTo>
                  <a:lnTo>
                    <a:pt x="272" y="308"/>
                  </a:lnTo>
                  <a:lnTo>
                    <a:pt x="187" y="256"/>
                  </a:lnTo>
                  <a:lnTo>
                    <a:pt x="183" y="255"/>
                  </a:lnTo>
                  <a:lnTo>
                    <a:pt x="179" y="254"/>
                  </a:lnTo>
                  <a:lnTo>
                    <a:pt x="176" y="255"/>
                  </a:lnTo>
                  <a:lnTo>
                    <a:pt x="171" y="256"/>
                  </a:lnTo>
                  <a:lnTo>
                    <a:pt x="87" y="308"/>
                  </a:lnTo>
                  <a:lnTo>
                    <a:pt x="119" y="214"/>
                  </a:lnTo>
                  <a:lnTo>
                    <a:pt x="119" y="209"/>
                  </a:lnTo>
                  <a:lnTo>
                    <a:pt x="119" y="205"/>
                  </a:lnTo>
                  <a:lnTo>
                    <a:pt x="117" y="201"/>
                  </a:lnTo>
                  <a:lnTo>
                    <a:pt x="114" y="197"/>
                  </a:lnTo>
                  <a:lnTo>
                    <a:pt x="56" y="149"/>
                  </a:lnTo>
                  <a:lnTo>
                    <a:pt x="119" y="149"/>
                  </a:lnTo>
                  <a:lnTo>
                    <a:pt x="123" y="149"/>
                  </a:lnTo>
                  <a:lnTo>
                    <a:pt x="127" y="147"/>
                  </a:lnTo>
                  <a:lnTo>
                    <a:pt x="131" y="145"/>
                  </a:lnTo>
                  <a:lnTo>
                    <a:pt x="133" y="141"/>
                  </a:lnTo>
                  <a:lnTo>
                    <a:pt x="179" y="48"/>
                  </a:lnTo>
                  <a:lnTo>
                    <a:pt x="226" y="141"/>
                  </a:lnTo>
                  <a:lnTo>
                    <a:pt x="228" y="145"/>
                  </a:lnTo>
                  <a:lnTo>
                    <a:pt x="231" y="147"/>
                  </a:lnTo>
                  <a:lnTo>
                    <a:pt x="234" y="149"/>
                  </a:lnTo>
                  <a:lnTo>
                    <a:pt x="239" y="149"/>
                  </a:lnTo>
                  <a:lnTo>
                    <a:pt x="303" y="149"/>
                  </a:lnTo>
                  <a:lnTo>
                    <a:pt x="244" y="197"/>
                  </a:lnTo>
                  <a:close/>
                  <a:moveTo>
                    <a:pt x="343" y="119"/>
                  </a:moveTo>
                  <a:lnTo>
                    <a:pt x="248" y="119"/>
                  </a:lnTo>
                  <a:lnTo>
                    <a:pt x="193" y="8"/>
                  </a:lnTo>
                  <a:lnTo>
                    <a:pt x="191" y="5"/>
                  </a:lnTo>
                  <a:lnTo>
                    <a:pt x="187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0"/>
                  </a:lnTo>
                  <a:lnTo>
                    <a:pt x="171" y="2"/>
                  </a:lnTo>
                  <a:lnTo>
                    <a:pt x="168" y="5"/>
                  </a:lnTo>
                  <a:lnTo>
                    <a:pt x="166" y="8"/>
                  </a:lnTo>
                  <a:lnTo>
                    <a:pt x="110" y="119"/>
                  </a:lnTo>
                  <a:lnTo>
                    <a:pt x="15" y="119"/>
                  </a:lnTo>
                  <a:lnTo>
                    <a:pt x="10" y="120"/>
                  </a:lnTo>
                  <a:lnTo>
                    <a:pt x="7" y="122"/>
                  </a:lnTo>
                  <a:lnTo>
                    <a:pt x="3" y="125"/>
                  </a:lnTo>
                  <a:lnTo>
                    <a:pt x="0" y="130"/>
                  </a:lnTo>
                  <a:lnTo>
                    <a:pt x="0" y="134"/>
                  </a:lnTo>
                  <a:lnTo>
                    <a:pt x="0" y="138"/>
                  </a:lnTo>
                  <a:lnTo>
                    <a:pt x="2" y="143"/>
                  </a:lnTo>
                  <a:lnTo>
                    <a:pt x="6" y="146"/>
                  </a:lnTo>
                  <a:lnTo>
                    <a:pt x="87" y="214"/>
                  </a:lnTo>
                  <a:lnTo>
                    <a:pt x="45" y="339"/>
                  </a:lnTo>
                  <a:lnTo>
                    <a:pt x="45" y="344"/>
                  </a:lnTo>
                  <a:lnTo>
                    <a:pt x="45" y="348"/>
                  </a:lnTo>
                  <a:lnTo>
                    <a:pt x="47" y="352"/>
                  </a:lnTo>
                  <a:lnTo>
                    <a:pt x="50" y="355"/>
                  </a:lnTo>
                  <a:lnTo>
                    <a:pt x="55" y="357"/>
                  </a:lnTo>
                  <a:lnTo>
                    <a:pt x="59" y="359"/>
                  </a:lnTo>
                  <a:lnTo>
                    <a:pt x="63" y="359"/>
                  </a:lnTo>
                  <a:lnTo>
                    <a:pt x="68" y="356"/>
                  </a:lnTo>
                  <a:lnTo>
                    <a:pt x="179" y="287"/>
                  </a:lnTo>
                  <a:lnTo>
                    <a:pt x="291" y="356"/>
                  </a:lnTo>
                  <a:lnTo>
                    <a:pt x="294" y="359"/>
                  </a:lnTo>
                  <a:lnTo>
                    <a:pt x="299" y="359"/>
                  </a:lnTo>
                  <a:lnTo>
                    <a:pt x="304" y="357"/>
                  </a:lnTo>
                  <a:lnTo>
                    <a:pt x="308" y="355"/>
                  </a:lnTo>
                  <a:lnTo>
                    <a:pt x="311" y="352"/>
                  </a:lnTo>
                  <a:lnTo>
                    <a:pt x="313" y="348"/>
                  </a:lnTo>
                  <a:lnTo>
                    <a:pt x="313" y="344"/>
                  </a:lnTo>
                  <a:lnTo>
                    <a:pt x="312" y="339"/>
                  </a:lnTo>
                  <a:lnTo>
                    <a:pt x="272" y="214"/>
                  </a:lnTo>
                  <a:lnTo>
                    <a:pt x="353" y="146"/>
                  </a:lnTo>
                  <a:lnTo>
                    <a:pt x="356" y="143"/>
                  </a:lnTo>
                  <a:lnTo>
                    <a:pt x="358" y="138"/>
                  </a:lnTo>
                  <a:lnTo>
                    <a:pt x="358" y="134"/>
                  </a:lnTo>
                  <a:lnTo>
                    <a:pt x="357" y="130"/>
                  </a:lnTo>
                  <a:lnTo>
                    <a:pt x="355" y="125"/>
                  </a:lnTo>
                  <a:lnTo>
                    <a:pt x="352" y="122"/>
                  </a:lnTo>
                  <a:lnTo>
                    <a:pt x="348" y="120"/>
                  </a:lnTo>
                  <a:lnTo>
                    <a:pt x="343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2" name="Freeform 57"/>
          <p:cNvSpPr>
            <a:spLocks noEditPoints="1"/>
          </p:cNvSpPr>
          <p:nvPr/>
        </p:nvSpPr>
        <p:spPr bwMode="auto">
          <a:xfrm>
            <a:off x="5816342" y="5114526"/>
            <a:ext cx="319016" cy="409516"/>
          </a:xfrm>
          <a:custGeom>
            <a:avLst/>
            <a:gdLst>
              <a:gd name="T0" fmla="*/ 616 w 708"/>
              <a:gd name="T1" fmla="*/ 486 h 905"/>
              <a:gd name="T2" fmla="*/ 664 w 708"/>
              <a:gd name="T3" fmla="*/ 521 h 905"/>
              <a:gd name="T4" fmla="*/ 678 w 708"/>
              <a:gd name="T5" fmla="*/ 583 h 905"/>
              <a:gd name="T6" fmla="*/ 654 w 708"/>
              <a:gd name="T7" fmla="*/ 638 h 905"/>
              <a:gd name="T8" fmla="*/ 598 w 708"/>
              <a:gd name="T9" fmla="*/ 663 h 905"/>
              <a:gd name="T10" fmla="*/ 523 w 708"/>
              <a:gd name="T11" fmla="*/ 838 h 905"/>
              <a:gd name="T12" fmla="*/ 497 w 708"/>
              <a:gd name="T13" fmla="*/ 868 h 905"/>
              <a:gd name="T14" fmla="*/ 130 w 708"/>
              <a:gd name="T15" fmla="*/ 874 h 905"/>
              <a:gd name="T16" fmla="*/ 93 w 708"/>
              <a:gd name="T17" fmla="*/ 857 h 905"/>
              <a:gd name="T18" fmla="*/ 76 w 708"/>
              <a:gd name="T19" fmla="*/ 821 h 905"/>
              <a:gd name="T20" fmla="*/ 422 w 708"/>
              <a:gd name="T21" fmla="*/ 422 h 905"/>
              <a:gd name="T22" fmla="*/ 514 w 708"/>
              <a:gd name="T23" fmla="*/ 422 h 905"/>
              <a:gd name="T24" fmla="*/ 49 w 708"/>
              <a:gd name="T25" fmla="*/ 292 h 905"/>
              <a:gd name="T26" fmla="*/ 407 w 708"/>
              <a:gd name="T27" fmla="*/ 91 h 905"/>
              <a:gd name="T28" fmla="*/ 318 w 708"/>
              <a:gd name="T29" fmla="*/ 100 h 905"/>
              <a:gd name="T30" fmla="*/ 323 w 708"/>
              <a:gd name="T31" fmla="*/ 119 h 905"/>
              <a:gd name="T32" fmla="*/ 359 w 708"/>
              <a:gd name="T33" fmla="*/ 151 h 905"/>
              <a:gd name="T34" fmla="*/ 347 w 708"/>
              <a:gd name="T35" fmla="*/ 166 h 905"/>
              <a:gd name="T36" fmla="*/ 359 w 708"/>
              <a:gd name="T37" fmla="*/ 181 h 905"/>
              <a:gd name="T38" fmla="*/ 323 w 708"/>
              <a:gd name="T39" fmla="*/ 214 h 905"/>
              <a:gd name="T40" fmla="*/ 318 w 708"/>
              <a:gd name="T41" fmla="*/ 233 h 905"/>
              <a:gd name="T42" fmla="*/ 407 w 708"/>
              <a:gd name="T43" fmla="*/ 241 h 905"/>
              <a:gd name="T44" fmla="*/ 349 w 708"/>
              <a:gd name="T45" fmla="*/ 308 h 905"/>
              <a:gd name="T46" fmla="*/ 351 w 708"/>
              <a:gd name="T47" fmla="*/ 327 h 905"/>
              <a:gd name="T48" fmla="*/ 257 w 708"/>
              <a:gd name="T49" fmla="*/ 392 h 905"/>
              <a:gd name="T50" fmla="*/ 547 w 708"/>
              <a:gd name="T51" fmla="*/ 237 h 905"/>
              <a:gd name="T52" fmla="*/ 556 w 708"/>
              <a:gd name="T53" fmla="*/ 117 h 905"/>
              <a:gd name="T54" fmla="*/ 580 w 708"/>
              <a:gd name="T55" fmla="*/ 57 h 905"/>
              <a:gd name="T56" fmla="*/ 612 w 708"/>
              <a:gd name="T57" fmla="*/ 72 h 905"/>
              <a:gd name="T58" fmla="*/ 632 w 708"/>
              <a:gd name="T59" fmla="*/ 155 h 905"/>
              <a:gd name="T60" fmla="*/ 607 w 708"/>
              <a:gd name="T61" fmla="*/ 207 h 905"/>
              <a:gd name="T62" fmla="*/ 577 w 708"/>
              <a:gd name="T63" fmla="*/ 214 h 905"/>
              <a:gd name="T64" fmla="*/ 532 w 708"/>
              <a:gd name="T65" fmla="*/ 184 h 905"/>
              <a:gd name="T66" fmla="*/ 558 w 708"/>
              <a:gd name="T67" fmla="*/ 407 h 905"/>
              <a:gd name="T68" fmla="*/ 546 w 708"/>
              <a:gd name="T69" fmla="*/ 393 h 905"/>
              <a:gd name="T70" fmla="*/ 618 w 708"/>
              <a:gd name="T71" fmla="*/ 235 h 905"/>
              <a:gd name="T72" fmla="*/ 651 w 708"/>
              <a:gd name="T73" fmla="*/ 198 h 905"/>
              <a:gd name="T74" fmla="*/ 663 w 708"/>
              <a:gd name="T75" fmla="*/ 135 h 905"/>
              <a:gd name="T76" fmla="*/ 636 w 708"/>
              <a:gd name="T77" fmla="*/ 55 h 905"/>
              <a:gd name="T78" fmla="*/ 556 w 708"/>
              <a:gd name="T79" fmla="*/ 3 h 905"/>
              <a:gd name="T80" fmla="*/ 537 w 708"/>
              <a:gd name="T81" fmla="*/ 22 h 905"/>
              <a:gd name="T82" fmla="*/ 550 w 708"/>
              <a:gd name="T83" fmla="*/ 60 h 905"/>
              <a:gd name="T84" fmla="*/ 520 w 708"/>
              <a:gd name="T85" fmla="*/ 113 h 905"/>
              <a:gd name="T86" fmla="*/ 499 w 708"/>
              <a:gd name="T87" fmla="*/ 167 h 905"/>
              <a:gd name="T88" fmla="*/ 516 w 708"/>
              <a:gd name="T89" fmla="*/ 215 h 905"/>
              <a:gd name="T90" fmla="*/ 433 w 708"/>
              <a:gd name="T91" fmla="*/ 5 h 905"/>
              <a:gd name="T92" fmla="*/ 235 w 708"/>
              <a:gd name="T93" fmla="*/ 1 h 905"/>
              <a:gd name="T94" fmla="*/ 227 w 708"/>
              <a:gd name="T95" fmla="*/ 392 h 905"/>
              <a:gd name="T96" fmla="*/ 133 w 708"/>
              <a:gd name="T97" fmla="*/ 217 h 905"/>
              <a:gd name="T98" fmla="*/ 128 w 708"/>
              <a:gd name="T99" fmla="*/ 213 h 905"/>
              <a:gd name="T100" fmla="*/ 2 w 708"/>
              <a:gd name="T101" fmla="*/ 159 h 905"/>
              <a:gd name="T102" fmla="*/ 16 w 708"/>
              <a:gd name="T103" fmla="*/ 291 h 905"/>
              <a:gd name="T104" fmla="*/ 51 w 708"/>
              <a:gd name="T105" fmla="*/ 395 h 905"/>
              <a:gd name="T106" fmla="*/ 46 w 708"/>
              <a:gd name="T107" fmla="*/ 824 h 905"/>
              <a:gd name="T108" fmla="*/ 72 w 708"/>
              <a:gd name="T109" fmla="*/ 879 h 905"/>
              <a:gd name="T110" fmla="*/ 127 w 708"/>
              <a:gd name="T111" fmla="*/ 905 h 905"/>
              <a:gd name="T112" fmla="*/ 512 w 708"/>
              <a:gd name="T113" fmla="*/ 894 h 905"/>
              <a:gd name="T114" fmla="*/ 551 w 708"/>
              <a:gd name="T115" fmla="*/ 850 h 905"/>
              <a:gd name="T116" fmla="*/ 601 w 708"/>
              <a:gd name="T117" fmla="*/ 693 h 905"/>
              <a:gd name="T118" fmla="*/ 674 w 708"/>
              <a:gd name="T119" fmla="*/ 659 h 905"/>
              <a:gd name="T120" fmla="*/ 708 w 708"/>
              <a:gd name="T121" fmla="*/ 586 h 905"/>
              <a:gd name="T122" fmla="*/ 689 w 708"/>
              <a:gd name="T123" fmla="*/ 505 h 905"/>
              <a:gd name="T124" fmla="*/ 625 w 708"/>
              <a:gd name="T125" fmla="*/ 457 h 9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08" h="905">
                <a:moveTo>
                  <a:pt x="588" y="664"/>
                </a:moveTo>
                <a:lnTo>
                  <a:pt x="558" y="664"/>
                </a:lnTo>
                <a:lnTo>
                  <a:pt x="558" y="482"/>
                </a:lnTo>
                <a:lnTo>
                  <a:pt x="588" y="482"/>
                </a:lnTo>
                <a:lnTo>
                  <a:pt x="598" y="483"/>
                </a:lnTo>
                <a:lnTo>
                  <a:pt x="607" y="484"/>
                </a:lnTo>
                <a:lnTo>
                  <a:pt x="616" y="486"/>
                </a:lnTo>
                <a:lnTo>
                  <a:pt x="625" y="490"/>
                </a:lnTo>
                <a:lnTo>
                  <a:pt x="632" y="493"/>
                </a:lnTo>
                <a:lnTo>
                  <a:pt x="640" y="497"/>
                </a:lnTo>
                <a:lnTo>
                  <a:pt x="647" y="502"/>
                </a:lnTo>
                <a:lnTo>
                  <a:pt x="654" y="508"/>
                </a:lnTo>
                <a:lnTo>
                  <a:pt x="659" y="514"/>
                </a:lnTo>
                <a:lnTo>
                  <a:pt x="664" y="521"/>
                </a:lnTo>
                <a:lnTo>
                  <a:pt x="669" y="528"/>
                </a:lnTo>
                <a:lnTo>
                  <a:pt x="672" y="537"/>
                </a:lnTo>
                <a:lnTo>
                  <a:pt x="675" y="544"/>
                </a:lnTo>
                <a:lnTo>
                  <a:pt x="677" y="554"/>
                </a:lnTo>
                <a:lnTo>
                  <a:pt x="678" y="564"/>
                </a:lnTo>
                <a:lnTo>
                  <a:pt x="678" y="573"/>
                </a:lnTo>
                <a:lnTo>
                  <a:pt x="678" y="583"/>
                </a:lnTo>
                <a:lnTo>
                  <a:pt x="677" y="592"/>
                </a:lnTo>
                <a:lnTo>
                  <a:pt x="675" y="601"/>
                </a:lnTo>
                <a:lnTo>
                  <a:pt x="672" y="610"/>
                </a:lnTo>
                <a:lnTo>
                  <a:pt x="669" y="617"/>
                </a:lnTo>
                <a:lnTo>
                  <a:pt x="664" y="625"/>
                </a:lnTo>
                <a:lnTo>
                  <a:pt x="659" y="631"/>
                </a:lnTo>
                <a:lnTo>
                  <a:pt x="654" y="638"/>
                </a:lnTo>
                <a:lnTo>
                  <a:pt x="647" y="644"/>
                </a:lnTo>
                <a:lnTo>
                  <a:pt x="640" y="649"/>
                </a:lnTo>
                <a:lnTo>
                  <a:pt x="632" y="653"/>
                </a:lnTo>
                <a:lnTo>
                  <a:pt x="625" y="657"/>
                </a:lnTo>
                <a:lnTo>
                  <a:pt x="616" y="659"/>
                </a:lnTo>
                <a:lnTo>
                  <a:pt x="607" y="662"/>
                </a:lnTo>
                <a:lnTo>
                  <a:pt x="598" y="663"/>
                </a:lnTo>
                <a:lnTo>
                  <a:pt x="588" y="664"/>
                </a:lnTo>
                <a:lnTo>
                  <a:pt x="588" y="664"/>
                </a:lnTo>
                <a:close/>
                <a:moveTo>
                  <a:pt x="528" y="814"/>
                </a:moveTo>
                <a:lnTo>
                  <a:pt x="528" y="821"/>
                </a:lnTo>
                <a:lnTo>
                  <a:pt x="527" y="827"/>
                </a:lnTo>
                <a:lnTo>
                  <a:pt x="526" y="833"/>
                </a:lnTo>
                <a:lnTo>
                  <a:pt x="523" y="838"/>
                </a:lnTo>
                <a:lnTo>
                  <a:pt x="520" y="843"/>
                </a:lnTo>
                <a:lnTo>
                  <a:pt x="518" y="849"/>
                </a:lnTo>
                <a:lnTo>
                  <a:pt x="515" y="853"/>
                </a:lnTo>
                <a:lnTo>
                  <a:pt x="511" y="857"/>
                </a:lnTo>
                <a:lnTo>
                  <a:pt x="506" y="862"/>
                </a:lnTo>
                <a:lnTo>
                  <a:pt x="502" y="865"/>
                </a:lnTo>
                <a:lnTo>
                  <a:pt x="497" y="868"/>
                </a:lnTo>
                <a:lnTo>
                  <a:pt x="491" y="870"/>
                </a:lnTo>
                <a:lnTo>
                  <a:pt x="486" y="872"/>
                </a:lnTo>
                <a:lnTo>
                  <a:pt x="480" y="873"/>
                </a:lnTo>
                <a:lnTo>
                  <a:pt x="474" y="874"/>
                </a:lnTo>
                <a:lnTo>
                  <a:pt x="467" y="874"/>
                </a:lnTo>
                <a:lnTo>
                  <a:pt x="135" y="874"/>
                </a:lnTo>
                <a:lnTo>
                  <a:pt x="130" y="874"/>
                </a:lnTo>
                <a:lnTo>
                  <a:pt x="123" y="873"/>
                </a:lnTo>
                <a:lnTo>
                  <a:pt x="118" y="872"/>
                </a:lnTo>
                <a:lnTo>
                  <a:pt x="111" y="870"/>
                </a:lnTo>
                <a:lnTo>
                  <a:pt x="106" y="867"/>
                </a:lnTo>
                <a:lnTo>
                  <a:pt x="102" y="865"/>
                </a:lnTo>
                <a:lnTo>
                  <a:pt x="97" y="861"/>
                </a:lnTo>
                <a:lnTo>
                  <a:pt x="93" y="857"/>
                </a:lnTo>
                <a:lnTo>
                  <a:pt x="89" y="853"/>
                </a:lnTo>
                <a:lnTo>
                  <a:pt x="86" y="848"/>
                </a:lnTo>
                <a:lnTo>
                  <a:pt x="82" y="843"/>
                </a:lnTo>
                <a:lnTo>
                  <a:pt x="80" y="838"/>
                </a:lnTo>
                <a:lnTo>
                  <a:pt x="78" y="833"/>
                </a:lnTo>
                <a:lnTo>
                  <a:pt x="76" y="826"/>
                </a:lnTo>
                <a:lnTo>
                  <a:pt x="76" y="821"/>
                </a:lnTo>
                <a:lnTo>
                  <a:pt x="75" y="814"/>
                </a:lnTo>
                <a:lnTo>
                  <a:pt x="75" y="422"/>
                </a:lnTo>
                <a:lnTo>
                  <a:pt x="90" y="422"/>
                </a:lnTo>
                <a:lnTo>
                  <a:pt x="211" y="422"/>
                </a:lnTo>
                <a:lnTo>
                  <a:pt x="211" y="422"/>
                </a:lnTo>
                <a:lnTo>
                  <a:pt x="242" y="422"/>
                </a:lnTo>
                <a:lnTo>
                  <a:pt x="422" y="422"/>
                </a:lnTo>
                <a:lnTo>
                  <a:pt x="435" y="422"/>
                </a:lnTo>
                <a:lnTo>
                  <a:pt x="435" y="422"/>
                </a:lnTo>
                <a:lnTo>
                  <a:pt x="435" y="422"/>
                </a:lnTo>
                <a:lnTo>
                  <a:pt x="436" y="422"/>
                </a:lnTo>
                <a:lnTo>
                  <a:pt x="514" y="422"/>
                </a:lnTo>
                <a:lnTo>
                  <a:pt x="514" y="422"/>
                </a:lnTo>
                <a:lnTo>
                  <a:pt x="514" y="422"/>
                </a:lnTo>
                <a:lnTo>
                  <a:pt x="528" y="422"/>
                </a:lnTo>
                <a:lnTo>
                  <a:pt x="528" y="814"/>
                </a:lnTo>
                <a:close/>
                <a:moveTo>
                  <a:pt x="49" y="292"/>
                </a:moveTo>
                <a:lnTo>
                  <a:pt x="115" y="249"/>
                </a:lnTo>
                <a:lnTo>
                  <a:pt x="187" y="392"/>
                </a:lnTo>
                <a:lnTo>
                  <a:pt x="100" y="392"/>
                </a:lnTo>
                <a:lnTo>
                  <a:pt x="49" y="292"/>
                </a:lnTo>
                <a:close/>
                <a:moveTo>
                  <a:pt x="92" y="227"/>
                </a:moveTo>
                <a:lnTo>
                  <a:pt x="42" y="260"/>
                </a:lnTo>
                <a:lnTo>
                  <a:pt x="34" y="194"/>
                </a:lnTo>
                <a:lnTo>
                  <a:pt x="92" y="227"/>
                </a:lnTo>
                <a:close/>
                <a:moveTo>
                  <a:pt x="257" y="30"/>
                </a:moveTo>
                <a:lnTo>
                  <a:pt x="407" y="30"/>
                </a:lnTo>
                <a:lnTo>
                  <a:pt x="407" y="91"/>
                </a:lnTo>
                <a:lnTo>
                  <a:pt x="332" y="91"/>
                </a:lnTo>
                <a:lnTo>
                  <a:pt x="329" y="91"/>
                </a:lnTo>
                <a:lnTo>
                  <a:pt x="325" y="92"/>
                </a:lnTo>
                <a:lnTo>
                  <a:pt x="323" y="93"/>
                </a:lnTo>
                <a:lnTo>
                  <a:pt x="321" y="95"/>
                </a:lnTo>
                <a:lnTo>
                  <a:pt x="319" y="97"/>
                </a:lnTo>
                <a:lnTo>
                  <a:pt x="318" y="100"/>
                </a:lnTo>
                <a:lnTo>
                  <a:pt x="317" y="102"/>
                </a:lnTo>
                <a:lnTo>
                  <a:pt x="317" y="106"/>
                </a:lnTo>
                <a:lnTo>
                  <a:pt x="317" y="109"/>
                </a:lnTo>
                <a:lnTo>
                  <a:pt x="318" y="111"/>
                </a:lnTo>
                <a:lnTo>
                  <a:pt x="319" y="114"/>
                </a:lnTo>
                <a:lnTo>
                  <a:pt x="321" y="116"/>
                </a:lnTo>
                <a:lnTo>
                  <a:pt x="323" y="119"/>
                </a:lnTo>
                <a:lnTo>
                  <a:pt x="325" y="120"/>
                </a:lnTo>
                <a:lnTo>
                  <a:pt x="329" y="121"/>
                </a:lnTo>
                <a:lnTo>
                  <a:pt x="332" y="121"/>
                </a:lnTo>
                <a:lnTo>
                  <a:pt x="407" y="121"/>
                </a:lnTo>
                <a:lnTo>
                  <a:pt x="407" y="151"/>
                </a:lnTo>
                <a:lnTo>
                  <a:pt x="362" y="151"/>
                </a:lnTo>
                <a:lnTo>
                  <a:pt x="359" y="151"/>
                </a:lnTo>
                <a:lnTo>
                  <a:pt x="356" y="152"/>
                </a:lnTo>
                <a:lnTo>
                  <a:pt x="353" y="153"/>
                </a:lnTo>
                <a:lnTo>
                  <a:pt x="351" y="155"/>
                </a:lnTo>
                <a:lnTo>
                  <a:pt x="349" y="157"/>
                </a:lnTo>
                <a:lnTo>
                  <a:pt x="348" y="160"/>
                </a:lnTo>
                <a:lnTo>
                  <a:pt x="347" y="163"/>
                </a:lnTo>
                <a:lnTo>
                  <a:pt x="347" y="166"/>
                </a:lnTo>
                <a:lnTo>
                  <a:pt x="347" y="169"/>
                </a:lnTo>
                <a:lnTo>
                  <a:pt x="348" y="172"/>
                </a:lnTo>
                <a:lnTo>
                  <a:pt x="349" y="174"/>
                </a:lnTo>
                <a:lnTo>
                  <a:pt x="351" y="177"/>
                </a:lnTo>
                <a:lnTo>
                  <a:pt x="353" y="179"/>
                </a:lnTo>
                <a:lnTo>
                  <a:pt x="356" y="180"/>
                </a:lnTo>
                <a:lnTo>
                  <a:pt x="359" y="181"/>
                </a:lnTo>
                <a:lnTo>
                  <a:pt x="362" y="181"/>
                </a:lnTo>
                <a:lnTo>
                  <a:pt x="407" y="181"/>
                </a:lnTo>
                <a:lnTo>
                  <a:pt x="407" y="211"/>
                </a:lnTo>
                <a:lnTo>
                  <a:pt x="332" y="211"/>
                </a:lnTo>
                <a:lnTo>
                  <a:pt x="329" y="211"/>
                </a:lnTo>
                <a:lnTo>
                  <a:pt x="325" y="212"/>
                </a:lnTo>
                <a:lnTo>
                  <a:pt x="323" y="214"/>
                </a:lnTo>
                <a:lnTo>
                  <a:pt x="321" y="215"/>
                </a:lnTo>
                <a:lnTo>
                  <a:pt x="319" y="217"/>
                </a:lnTo>
                <a:lnTo>
                  <a:pt x="318" y="221"/>
                </a:lnTo>
                <a:lnTo>
                  <a:pt x="317" y="223"/>
                </a:lnTo>
                <a:lnTo>
                  <a:pt x="317" y="226"/>
                </a:lnTo>
                <a:lnTo>
                  <a:pt x="317" y="229"/>
                </a:lnTo>
                <a:lnTo>
                  <a:pt x="318" y="233"/>
                </a:lnTo>
                <a:lnTo>
                  <a:pt x="319" y="235"/>
                </a:lnTo>
                <a:lnTo>
                  <a:pt x="321" y="237"/>
                </a:lnTo>
                <a:lnTo>
                  <a:pt x="323" y="239"/>
                </a:lnTo>
                <a:lnTo>
                  <a:pt x="325" y="240"/>
                </a:lnTo>
                <a:lnTo>
                  <a:pt x="329" y="241"/>
                </a:lnTo>
                <a:lnTo>
                  <a:pt x="332" y="241"/>
                </a:lnTo>
                <a:lnTo>
                  <a:pt x="407" y="241"/>
                </a:lnTo>
                <a:lnTo>
                  <a:pt x="407" y="301"/>
                </a:lnTo>
                <a:lnTo>
                  <a:pt x="362" y="301"/>
                </a:lnTo>
                <a:lnTo>
                  <a:pt x="359" y="302"/>
                </a:lnTo>
                <a:lnTo>
                  <a:pt x="356" y="302"/>
                </a:lnTo>
                <a:lnTo>
                  <a:pt x="353" y="305"/>
                </a:lnTo>
                <a:lnTo>
                  <a:pt x="351" y="306"/>
                </a:lnTo>
                <a:lnTo>
                  <a:pt x="349" y="308"/>
                </a:lnTo>
                <a:lnTo>
                  <a:pt x="348" y="311"/>
                </a:lnTo>
                <a:lnTo>
                  <a:pt x="347" y="313"/>
                </a:lnTo>
                <a:lnTo>
                  <a:pt x="347" y="316"/>
                </a:lnTo>
                <a:lnTo>
                  <a:pt x="347" y="320"/>
                </a:lnTo>
                <a:lnTo>
                  <a:pt x="348" y="323"/>
                </a:lnTo>
                <a:lnTo>
                  <a:pt x="349" y="325"/>
                </a:lnTo>
                <a:lnTo>
                  <a:pt x="351" y="327"/>
                </a:lnTo>
                <a:lnTo>
                  <a:pt x="353" y="329"/>
                </a:lnTo>
                <a:lnTo>
                  <a:pt x="356" y="330"/>
                </a:lnTo>
                <a:lnTo>
                  <a:pt x="359" y="331"/>
                </a:lnTo>
                <a:lnTo>
                  <a:pt x="362" y="331"/>
                </a:lnTo>
                <a:lnTo>
                  <a:pt x="407" y="331"/>
                </a:lnTo>
                <a:lnTo>
                  <a:pt x="407" y="392"/>
                </a:lnTo>
                <a:lnTo>
                  <a:pt x="257" y="392"/>
                </a:lnTo>
                <a:lnTo>
                  <a:pt x="257" y="30"/>
                </a:lnTo>
                <a:close/>
                <a:moveTo>
                  <a:pt x="547" y="237"/>
                </a:moveTo>
                <a:lnTo>
                  <a:pt x="554" y="240"/>
                </a:lnTo>
                <a:lnTo>
                  <a:pt x="561" y="241"/>
                </a:lnTo>
                <a:lnTo>
                  <a:pt x="504" y="392"/>
                </a:lnTo>
                <a:lnTo>
                  <a:pt x="461" y="392"/>
                </a:lnTo>
                <a:lnTo>
                  <a:pt x="547" y="237"/>
                </a:lnTo>
                <a:lnTo>
                  <a:pt x="547" y="237"/>
                </a:lnTo>
                <a:lnTo>
                  <a:pt x="547" y="237"/>
                </a:lnTo>
                <a:lnTo>
                  <a:pt x="547" y="237"/>
                </a:lnTo>
                <a:close/>
                <a:moveTo>
                  <a:pt x="533" y="149"/>
                </a:moveTo>
                <a:lnTo>
                  <a:pt x="540" y="137"/>
                </a:lnTo>
                <a:lnTo>
                  <a:pt x="549" y="125"/>
                </a:lnTo>
                <a:lnTo>
                  <a:pt x="556" y="117"/>
                </a:lnTo>
                <a:lnTo>
                  <a:pt x="561" y="109"/>
                </a:lnTo>
                <a:lnTo>
                  <a:pt x="568" y="100"/>
                </a:lnTo>
                <a:lnTo>
                  <a:pt x="572" y="91"/>
                </a:lnTo>
                <a:lnTo>
                  <a:pt x="576" y="80"/>
                </a:lnTo>
                <a:lnTo>
                  <a:pt x="579" y="69"/>
                </a:lnTo>
                <a:lnTo>
                  <a:pt x="580" y="63"/>
                </a:lnTo>
                <a:lnTo>
                  <a:pt x="580" y="57"/>
                </a:lnTo>
                <a:lnTo>
                  <a:pt x="580" y="51"/>
                </a:lnTo>
                <a:lnTo>
                  <a:pt x="579" y="44"/>
                </a:lnTo>
                <a:lnTo>
                  <a:pt x="587" y="49"/>
                </a:lnTo>
                <a:lnTo>
                  <a:pt x="594" y="54"/>
                </a:lnTo>
                <a:lnTo>
                  <a:pt x="601" y="60"/>
                </a:lnTo>
                <a:lnTo>
                  <a:pt x="606" y="66"/>
                </a:lnTo>
                <a:lnTo>
                  <a:pt x="612" y="72"/>
                </a:lnTo>
                <a:lnTo>
                  <a:pt x="616" y="80"/>
                </a:lnTo>
                <a:lnTo>
                  <a:pt x="620" y="86"/>
                </a:lnTo>
                <a:lnTo>
                  <a:pt x="623" y="94"/>
                </a:lnTo>
                <a:lnTo>
                  <a:pt x="629" y="109"/>
                </a:lnTo>
                <a:lnTo>
                  <a:pt x="632" y="124"/>
                </a:lnTo>
                <a:lnTo>
                  <a:pt x="633" y="140"/>
                </a:lnTo>
                <a:lnTo>
                  <a:pt x="632" y="155"/>
                </a:lnTo>
                <a:lnTo>
                  <a:pt x="631" y="165"/>
                </a:lnTo>
                <a:lnTo>
                  <a:pt x="628" y="176"/>
                </a:lnTo>
                <a:lnTo>
                  <a:pt x="623" y="186"/>
                </a:lnTo>
                <a:lnTo>
                  <a:pt x="618" y="195"/>
                </a:lnTo>
                <a:lnTo>
                  <a:pt x="615" y="199"/>
                </a:lnTo>
                <a:lnTo>
                  <a:pt x="612" y="203"/>
                </a:lnTo>
                <a:lnTo>
                  <a:pt x="607" y="207"/>
                </a:lnTo>
                <a:lnTo>
                  <a:pt x="603" y="209"/>
                </a:lnTo>
                <a:lnTo>
                  <a:pt x="599" y="211"/>
                </a:lnTo>
                <a:lnTo>
                  <a:pt x="593" y="213"/>
                </a:lnTo>
                <a:lnTo>
                  <a:pt x="588" y="214"/>
                </a:lnTo>
                <a:lnTo>
                  <a:pt x="583" y="214"/>
                </a:lnTo>
                <a:lnTo>
                  <a:pt x="583" y="214"/>
                </a:lnTo>
                <a:lnTo>
                  <a:pt x="577" y="214"/>
                </a:lnTo>
                <a:lnTo>
                  <a:pt x="571" y="213"/>
                </a:lnTo>
                <a:lnTo>
                  <a:pt x="565" y="212"/>
                </a:lnTo>
                <a:lnTo>
                  <a:pt x="559" y="209"/>
                </a:lnTo>
                <a:lnTo>
                  <a:pt x="550" y="205"/>
                </a:lnTo>
                <a:lnTo>
                  <a:pt x="543" y="199"/>
                </a:lnTo>
                <a:lnTo>
                  <a:pt x="536" y="192"/>
                </a:lnTo>
                <a:lnTo>
                  <a:pt x="532" y="184"/>
                </a:lnTo>
                <a:lnTo>
                  <a:pt x="530" y="176"/>
                </a:lnTo>
                <a:lnTo>
                  <a:pt x="529" y="167"/>
                </a:lnTo>
                <a:lnTo>
                  <a:pt x="530" y="157"/>
                </a:lnTo>
                <a:lnTo>
                  <a:pt x="533" y="149"/>
                </a:lnTo>
                <a:close/>
                <a:moveTo>
                  <a:pt x="588" y="452"/>
                </a:moveTo>
                <a:lnTo>
                  <a:pt x="558" y="452"/>
                </a:lnTo>
                <a:lnTo>
                  <a:pt x="558" y="407"/>
                </a:lnTo>
                <a:lnTo>
                  <a:pt x="558" y="404"/>
                </a:lnTo>
                <a:lnTo>
                  <a:pt x="557" y="401"/>
                </a:lnTo>
                <a:lnTo>
                  <a:pt x="556" y="399"/>
                </a:lnTo>
                <a:lnTo>
                  <a:pt x="554" y="396"/>
                </a:lnTo>
                <a:lnTo>
                  <a:pt x="551" y="395"/>
                </a:lnTo>
                <a:lnTo>
                  <a:pt x="548" y="393"/>
                </a:lnTo>
                <a:lnTo>
                  <a:pt x="546" y="393"/>
                </a:lnTo>
                <a:lnTo>
                  <a:pt x="543" y="392"/>
                </a:lnTo>
                <a:lnTo>
                  <a:pt x="536" y="392"/>
                </a:lnTo>
                <a:lnTo>
                  <a:pt x="592" y="244"/>
                </a:lnTo>
                <a:lnTo>
                  <a:pt x="599" y="242"/>
                </a:lnTo>
                <a:lnTo>
                  <a:pt x="605" y="241"/>
                </a:lnTo>
                <a:lnTo>
                  <a:pt x="612" y="238"/>
                </a:lnTo>
                <a:lnTo>
                  <a:pt x="618" y="235"/>
                </a:lnTo>
                <a:lnTo>
                  <a:pt x="623" y="231"/>
                </a:lnTo>
                <a:lnTo>
                  <a:pt x="629" y="227"/>
                </a:lnTo>
                <a:lnTo>
                  <a:pt x="634" y="223"/>
                </a:lnTo>
                <a:lnTo>
                  <a:pt x="639" y="217"/>
                </a:lnTo>
                <a:lnTo>
                  <a:pt x="644" y="211"/>
                </a:lnTo>
                <a:lnTo>
                  <a:pt x="647" y="206"/>
                </a:lnTo>
                <a:lnTo>
                  <a:pt x="651" y="198"/>
                </a:lnTo>
                <a:lnTo>
                  <a:pt x="655" y="192"/>
                </a:lnTo>
                <a:lnTo>
                  <a:pt x="657" y="184"/>
                </a:lnTo>
                <a:lnTo>
                  <a:pt x="659" y="176"/>
                </a:lnTo>
                <a:lnTo>
                  <a:pt x="661" y="167"/>
                </a:lnTo>
                <a:lnTo>
                  <a:pt x="662" y="158"/>
                </a:lnTo>
                <a:lnTo>
                  <a:pt x="663" y="147"/>
                </a:lnTo>
                <a:lnTo>
                  <a:pt x="663" y="135"/>
                </a:lnTo>
                <a:lnTo>
                  <a:pt x="662" y="123"/>
                </a:lnTo>
                <a:lnTo>
                  <a:pt x="661" y="111"/>
                </a:lnTo>
                <a:lnTo>
                  <a:pt x="658" y="99"/>
                </a:lnTo>
                <a:lnTo>
                  <a:pt x="654" y="87"/>
                </a:lnTo>
                <a:lnTo>
                  <a:pt x="649" y="77"/>
                </a:lnTo>
                <a:lnTo>
                  <a:pt x="643" y="66"/>
                </a:lnTo>
                <a:lnTo>
                  <a:pt x="636" y="55"/>
                </a:lnTo>
                <a:lnTo>
                  <a:pt x="628" y="45"/>
                </a:lnTo>
                <a:lnTo>
                  <a:pt x="619" y="36"/>
                </a:lnTo>
                <a:lnTo>
                  <a:pt x="608" y="27"/>
                </a:lnTo>
                <a:lnTo>
                  <a:pt x="598" y="20"/>
                </a:lnTo>
                <a:lnTo>
                  <a:pt x="585" y="13"/>
                </a:lnTo>
                <a:lnTo>
                  <a:pt x="571" y="8"/>
                </a:lnTo>
                <a:lnTo>
                  <a:pt x="556" y="3"/>
                </a:lnTo>
                <a:lnTo>
                  <a:pt x="551" y="2"/>
                </a:lnTo>
                <a:lnTo>
                  <a:pt x="547" y="3"/>
                </a:lnTo>
                <a:lnTo>
                  <a:pt x="543" y="6"/>
                </a:lnTo>
                <a:lnTo>
                  <a:pt x="540" y="9"/>
                </a:lnTo>
                <a:lnTo>
                  <a:pt x="537" y="13"/>
                </a:lnTo>
                <a:lnTo>
                  <a:pt x="537" y="17"/>
                </a:lnTo>
                <a:lnTo>
                  <a:pt x="537" y="22"/>
                </a:lnTo>
                <a:lnTo>
                  <a:pt x="540" y="26"/>
                </a:lnTo>
                <a:lnTo>
                  <a:pt x="543" y="33"/>
                </a:lnTo>
                <a:lnTo>
                  <a:pt x="546" y="38"/>
                </a:lnTo>
                <a:lnTo>
                  <a:pt x="548" y="44"/>
                </a:lnTo>
                <a:lnTo>
                  <a:pt x="549" y="50"/>
                </a:lnTo>
                <a:lnTo>
                  <a:pt x="550" y="55"/>
                </a:lnTo>
                <a:lnTo>
                  <a:pt x="550" y="60"/>
                </a:lnTo>
                <a:lnTo>
                  <a:pt x="549" y="65"/>
                </a:lnTo>
                <a:lnTo>
                  <a:pt x="548" y="70"/>
                </a:lnTo>
                <a:lnTo>
                  <a:pt x="545" y="79"/>
                </a:lnTo>
                <a:lnTo>
                  <a:pt x="540" y="88"/>
                </a:lnTo>
                <a:lnTo>
                  <a:pt x="533" y="97"/>
                </a:lnTo>
                <a:lnTo>
                  <a:pt x="526" y="107"/>
                </a:lnTo>
                <a:lnTo>
                  <a:pt x="520" y="113"/>
                </a:lnTo>
                <a:lnTo>
                  <a:pt x="515" y="121"/>
                </a:lnTo>
                <a:lnTo>
                  <a:pt x="509" y="128"/>
                </a:lnTo>
                <a:lnTo>
                  <a:pt x="505" y="137"/>
                </a:lnTo>
                <a:lnTo>
                  <a:pt x="503" y="144"/>
                </a:lnTo>
                <a:lnTo>
                  <a:pt x="501" y="152"/>
                </a:lnTo>
                <a:lnTo>
                  <a:pt x="500" y="159"/>
                </a:lnTo>
                <a:lnTo>
                  <a:pt x="499" y="167"/>
                </a:lnTo>
                <a:lnTo>
                  <a:pt x="499" y="174"/>
                </a:lnTo>
                <a:lnTo>
                  <a:pt x="500" y="182"/>
                </a:lnTo>
                <a:lnTo>
                  <a:pt x="502" y="190"/>
                </a:lnTo>
                <a:lnTo>
                  <a:pt x="504" y="196"/>
                </a:lnTo>
                <a:lnTo>
                  <a:pt x="507" y="202"/>
                </a:lnTo>
                <a:lnTo>
                  <a:pt x="512" y="209"/>
                </a:lnTo>
                <a:lnTo>
                  <a:pt x="516" y="215"/>
                </a:lnTo>
                <a:lnTo>
                  <a:pt x="521" y="221"/>
                </a:lnTo>
                <a:lnTo>
                  <a:pt x="437" y="373"/>
                </a:lnTo>
                <a:lnTo>
                  <a:pt x="437" y="15"/>
                </a:lnTo>
                <a:lnTo>
                  <a:pt x="437" y="12"/>
                </a:lnTo>
                <a:lnTo>
                  <a:pt x="436" y="9"/>
                </a:lnTo>
                <a:lnTo>
                  <a:pt x="434" y="7"/>
                </a:lnTo>
                <a:lnTo>
                  <a:pt x="433" y="5"/>
                </a:lnTo>
                <a:lnTo>
                  <a:pt x="431" y="2"/>
                </a:lnTo>
                <a:lnTo>
                  <a:pt x="428" y="1"/>
                </a:lnTo>
                <a:lnTo>
                  <a:pt x="426" y="0"/>
                </a:lnTo>
                <a:lnTo>
                  <a:pt x="422" y="0"/>
                </a:lnTo>
                <a:lnTo>
                  <a:pt x="242" y="0"/>
                </a:lnTo>
                <a:lnTo>
                  <a:pt x="238" y="0"/>
                </a:lnTo>
                <a:lnTo>
                  <a:pt x="235" y="1"/>
                </a:lnTo>
                <a:lnTo>
                  <a:pt x="233" y="2"/>
                </a:lnTo>
                <a:lnTo>
                  <a:pt x="231" y="5"/>
                </a:lnTo>
                <a:lnTo>
                  <a:pt x="229" y="7"/>
                </a:lnTo>
                <a:lnTo>
                  <a:pt x="228" y="9"/>
                </a:lnTo>
                <a:lnTo>
                  <a:pt x="227" y="12"/>
                </a:lnTo>
                <a:lnTo>
                  <a:pt x="227" y="15"/>
                </a:lnTo>
                <a:lnTo>
                  <a:pt x="227" y="392"/>
                </a:lnTo>
                <a:lnTo>
                  <a:pt x="220" y="392"/>
                </a:lnTo>
                <a:lnTo>
                  <a:pt x="134" y="220"/>
                </a:lnTo>
                <a:lnTo>
                  <a:pt x="134" y="219"/>
                </a:lnTo>
                <a:lnTo>
                  <a:pt x="133" y="219"/>
                </a:lnTo>
                <a:lnTo>
                  <a:pt x="133" y="219"/>
                </a:lnTo>
                <a:lnTo>
                  <a:pt x="133" y="217"/>
                </a:lnTo>
                <a:lnTo>
                  <a:pt x="133" y="217"/>
                </a:lnTo>
                <a:lnTo>
                  <a:pt x="132" y="217"/>
                </a:lnTo>
                <a:lnTo>
                  <a:pt x="131" y="215"/>
                </a:lnTo>
                <a:lnTo>
                  <a:pt x="130" y="214"/>
                </a:lnTo>
                <a:lnTo>
                  <a:pt x="129" y="214"/>
                </a:lnTo>
                <a:lnTo>
                  <a:pt x="129" y="213"/>
                </a:lnTo>
                <a:lnTo>
                  <a:pt x="129" y="213"/>
                </a:lnTo>
                <a:lnTo>
                  <a:pt x="128" y="213"/>
                </a:lnTo>
                <a:lnTo>
                  <a:pt x="22" y="153"/>
                </a:lnTo>
                <a:lnTo>
                  <a:pt x="19" y="151"/>
                </a:lnTo>
                <a:lnTo>
                  <a:pt x="15" y="151"/>
                </a:lnTo>
                <a:lnTo>
                  <a:pt x="10" y="152"/>
                </a:lnTo>
                <a:lnTo>
                  <a:pt x="6" y="153"/>
                </a:lnTo>
                <a:lnTo>
                  <a:pt x="4" y="156"/>
                </a:lnTo>
                <a:lnTo>
                  <a:pt x="2" y="159"/>
                </a:lnTo>
                <a:lnTo>
                  <a:pt x="0" y="164"/>
                </a:lnTo>
                <a:lnTo>
                  <a:pt x="0" y="168"/>
                </a:lnTo>
                <a:lnTo>
                  <a:pt x="15" y="288"/>
                </a:lnTo>
                <a:lnTo>
                  <a:pt x="15" y="288"/>
                </a:lnTo>
                <a:lnTo>
                  <a:pt x="15" y="288"/>
                </a:lnTo>
                <a:lnTo>
                  <a:pt x="16" y="290"/>
                </a:lnTo>
                <a:lnTo>
                  <a:pt x="16" y="291"/>
                </a:lnTo>
                <a:lnTo>
                  <a:pt x="16" y="292"/>
                </a:lnTo>
                <a:lnTo>
                  <a:pt x="17" y="294"/>
                </a:lnTo>
                <a:lnTo>
                  <a:pt x="66" y="392"/>
                </a:lnTo>
                <a:lnTo>
                  <a:pt x="60" y="392"/>
                </a:lnTo>
                <a:lnTo>
                  <a:pt x="57" y="393"/>
                </a:lnTo>
                <a:lnTo>
                  <a:pt x="54" y="393"/>
                </a:lnTo>
                <a:lnTo>
                  <a:pt x="51" y="395"/>
                </a:lnTo>
                <a:lnTo>
                  <a:pt x="49" y="396"/>
                </a:lnTo>
                <a:lnTo>
                  <a:pt x="48" y="399"/>
                </a:lnTo>
                <a:lnTo>
                  <a:pt x="46" y="401"/>
                </a:lnTo>
                <a:lnTo>
                  <a:pt x="46" y="405"/>
                </a:lnTo>
                <a:lnTo>
                  <a:pt x="45" y="407"/>
                </a:lnTo>
                <a:lnTo>
                  <a:pt x="45" y="814"/>
                </a:lnTo>
                <a:lnTo>
                  <a:pt x="46" y="824"/>
                </a:lnTo>
                <a:lnTo>
                  <a:pt x="47" y="833"/>
                </a:lnTo>
                <a:lnTo>
                  <a:pt x="49" y="841"/>
                </a:lnTo>
                <a:lnTo>
                  <a:pt x="52" y="850"/>
                </a:lnTo>
                <a:lnTo>
                  <a:pt x="56" y="857"/>
                </a:lnTo>
                <a:lnTo>
                  <a:pt x="60" y="865"/>
                </a:lnTo>
                <a:lnTo>
                  <a:pt x="65" y="872"/>
                </a:lnTo>
                <a:lnTo>
                  <a:pt x="72" y="879"/>
                </a:lnTo>
                <a:lnTo>
                  <a:pt x="78" y="884"/>
                </a:lnTo>
                <a:lnTo>
                  <a:pt x="85" y="890"/>
                </a:lnTo>
                <a:lnTo>
                  <a:pt x="92" y="894"/>
                </a:lnTo>
                <a:lnTo>
                  <a:pt x="100" y="898"/>
                </a:lnTo>
                <a:lnTo>
                  <a:pt x="108" y="900"/>
                </a:lnTo>
                <a:lnTo>
                  <a:pt x="117" y="902"/>
                </a:lnTo>
                <a:lnTo>
                  <a:pt x="127" y="905"/>
                </a:lnTo>
                <a:lnTo>
                  <a:pt x="135" y="905"/>
                </a:lnTo>
                <a:lnTo>
                  <a:pt x="467" y="905"/>
                </a:lnTo>
                <a:lnTo>
                  <a:pt x="477" y="905"/>
                </a:lnTo>
                <a:lnTo>
                  <a:pt x="486" y="902"/>
                </a:lnTo>
                <a:lnTo>
                  <a:pt x="494" y="900"/>
                </a:lnTo>
                <a:lnTo>
                  <a:pt x="503" y="898"/>
                </a:lnTo>
                <a:lnTo>
                  <a:pt x="512" y="894"/>
                </a:lnTo>
                <a:lnTo>
                  <a:pt x="519" y="890"/>
                </a:lnTo>
                <a:lnTo>
                  <a:pt x="526" y="884"/>
                </a:lnTo>
                <a:lnTo>
                  <a:pt x="532" y="879"/>
                </a:lnTo>
                <a:lnTo>
                  <a:pt x="537" y="872"/>
                </a:lnTo>
                <a:lnTo>
                  <a:pt x="543" y="866"/>
                </a:lnTo>
                <a:lnTo>
                  <a:pt x="547" y="858"/>
                </a:lnTo>
                <a:lnTo>
                  <a:pt x="551" y="850"/>
                </a:lnTo>
                <a:lnTo>
                  <a:pt x="554" y="842"/>
                </a:lnTo>
                <a:lnTo>
                  <a:pt x="556" y="833"/>
                </a:lnTo>
                <a:lnTo>
                  <a:pt x="558" y="824"/>
                </a:lnTo>
                <a:lnTo>
                  <a:pt x="558" y="814"/>
                </a:lnTo>
                <a:lnTo>
                  <a:pt x="558" y="694"/>
                </a:lnTo>
                <a:lnTo>
                  <a:pt x="588" y="694"/>
                </a:lnTo>
                <a:lnTo>
                  <a:pt x="601" y="693"/>
                </a:lnTo>
                <a:lnTo>
                  <a:pt x="613" y="692"/>
                </a:lnTo>
                <a:lnTo>
                  <a:pt x="625" y="688"/>
                </a:lnTo>
                <a:lnTo>
                  <a:pt x="636" y="684"/>
                </a:lnTo>
                <a:lnTo>
                  <a:pt x="647" y="680"/>
                </a:lnTo>
                <a:lnTo>
                  <a:pt x="657" y="673"/>
                </a:lnTo>
                <a:lnTo>
                  <a:pt x="666" y="667"/>
                </a:lnTo>
                <a:lnTo>
                  <a:pt x="674" y="659"/>
                </a:lnTo>
                <a:lnTo>
                  <a:pt x="683" y="651"/>
                </a:lnTo>
                <a:lnTo>
                  <a:pt x="689" y="642"/>
                </a:lnTo>
                <a:lnTo>
                  <a:pt x="694" y="631"/>
                </a:lnTo>
                <a:lnTo>
                  <a:pt x="700" y="622"/>
                </a:lnTo>
                <a:lnTo>
                  <a:pt x="703" y="610"/>
                </a:lnTo>
                <a:lnTo>
                  <a:pt x="706" y="598"/>
                </a:lnTo>
                <a:lnTo>
                  <a:pt x="708" y="586"/>
                </a:lnTo>
                <a:lnTo>
                  <a:pt x="708" y="573"/>
                </a:lnTo>
                <a:lnTo>
                  <a:pt x="708" y="561"/>
                </a:lnTo>
                <a:lnTo>
                  <a:pt x="706" y="548"/>
                </a:lnTo>
                <a:lnTo>
                  <a:pt x="703" y="536"/>
                </a:lnTo>
                <a:lnTo>
                  <a:pt x="700" y="525"/>
                </a:lnTo>
                <a:lnTo>
                  <a:pt x="694" y="514"/>
                </a:lnTo>
                <a:lnTo>
                  <a:pt x="689" y="505"/>
                </a:lnTo>
                <a:lnTo>
                  <a:pt x="683" y="495"/>
                </a:lnTo>
                <a:lnTo>
                  <a:pt x="674" y="486"/>
                </a:lnTo>
                <a:lnTo>
                  <a:pt x="666" y="479"/>
                </a:lnTo>
                <a:lnTo>
                  <a:pt x="657" y="472"/>
                </a:lnTo>
                <a:lnTo>
                  <a:pt x="647" y="466"/>
                </a:lnTo>
                <a:lnTo>
                  <a:pt x="636" y="462"/>
                </a:lnTo>
                <a:lnTo>
                  <a:pt x="625" y="457"/>
                </a:lnTo>
                <a:lnTo>
                  <a:pt x="613" y="455"/>
                </a:lnTo>
                <a:lnTo>
                  <a:pt x="601" y="453"/>
                </a:lnTo>
                <a:lnTo>
                  <a:pt x="588" y="4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3" name="Group 112"/>
          <p:cNvGrpSpPr/>
          <p:nvPr/>
        </p:nvGrpSpPr>
        <p:grpSpPr>
          <a:xfrm>
            <a:off x="4498300" y="4197855"/>
            <a:ext cx="316995" cy="316995"/>
            <a:chOff x="8164513" y="4791075"/>
            <a:chExt cx="285750" cy="285750"/>
          </a:xfrm>
          <a:solidFill>
            <a:schemeClr val="bg1"/>
          </a:solidFill>
        </p:grpSpPr>
        <p:sp>
          <p:nvSpPr>
            <p:cNvPr id="114" name="Freeform 108"/>
            <p:cNvSpPr>
              <a:spLocks noEditPoints="1"/>
            </p:cNvSpPr>
            <p:nvPr/>
          </p:nvSpPr>
          <p:spPr bwMode="auto">
            <a:xfrm>
              <a:off x="8164513" y="4791075"/>
              <a:ext cx="285750" cy="285750"/>
            </a:xfrm>
            <a:custGeom>
              <a:avLst/>
              <a:gdLst>
                <a:gd name="T0" fmla="*/ 30 w 902"/>
                <a:gd name="T1" fmla="*/ 571 h 902"/>
                <a:gd name="T2" fmla="*/ 872 w 902"/>
                <a:gd name="T3" fmla="*/ 30 h 902"/>
                <a:gd name="T4" fmla="*/ 887 w 902"/>
                <a:gd name="T5" fmla="*/ 0 h 902"/>
                <a:gd name="T6" fmla="*/ 12 w 902"/>
                <a:gd name="T7" fmla="*/ 0 h 902"/>
                <a:gd name="T8" fmla="*/ 6 w 902"/>
                <a:gd name="T9" fmla="*/ 2 h 902"/>
                <a:gd name="T10" fmla="*/ 2 w 902"/>
                <a:gd name="T11" fmla="*/ 6 h 902"/>
                <a:gd name="T12" fmla="*/ 0 w 902"/>
                <a:gd name="T13" fmla="*/ 12 h 902"/>
                <a:gd name="T14" fmla="*/ 0 w 902"/>
                <a:gd name="T15" fmla="*/ 586 h 902"/>
                <a:gd name="T16" fmla="*/ 1 w 902"/>
                <a:gd name="T17" fmla="*/ 592 h 902"/>
                <a:gd name="T18" fmla="*/ 4 w 902"/>
                <a:gd name="T19" fmla="*/ 597 h 902"/>
                <a:gd name="T20" fmla="*/ 9 w 902"/>
                <a:gd name="T21" fmla="*/ 600 h 902"/>
                <a:gd name="T22" fmla="*/ 15 w 902"/>
                <a:gd name="T23" fmla="*/ 601 h 902"/>
                <a:gd name="T24" fmla="*/ 436 w 902"/>
                <a:gd name="T25" fmla="*/ 701 h 902"/>
                <a:gd name="T26" fmla="*/ 258 w 902"/>
                <a:gd name="T27" fmla="*/ 878 h 902"/>
                <a:gd name="T28" fmla="*/ 255 w 902"/>
                <a:gd name="T29" fmla="*/ 884 h 902"/>
                <a:gd name="T30" fmla="*/ 255 w 902"/>
                <a:gd name="T31" fmla="*/ 890 h 902"/>
                <a:gd name="T32" fmla="*/ 258 w 902"/>
                <a:gd name="T33" fmla="*/ 896 h 902"/>
                <a:gd name="T34" fmla="*/ 262 w 902"/>
                <a:gd name="T35" fmla="*/ 900 h 902"/>
                <a:gd name="T36" fmla="*/ 268 w 902"/>
                <a:gd name="T37" fmla="*/ 902 h 902"/>
                <a:gd name="T38" fmla="*/ 273 w 902"/>
                <a:gd name="T39" fmla="*/ 902 h 902"/>
                <a:gd name="T40" fmla="*/ 279 w 902"/>
                <a:gd name="T41" fmla="*/ 900 h 902"/>
                <a:gd name="T42" fmla="*/ 451 w 902"/>
                <a:gd name="T43" fmla="*/ 727 h 902"/>
                <a:gd name="T44" fmla="*/ 622 w 902"/>
                <a:gd name="T45" fmla="*/ 900 h 902"/>
                <a:gd name="T46" fmla="*/ 628 w 902"/>
                <a:gd name="T47" fmla="*/ 902 h 902"/>
                <a:gd name="T48" fmla="*/ 634 w 902"/>
                <a:gd name="T49" fmla="*/ 902 h 902"/>
                <a:gd name="T50" fmla="*/ 640 w 902"/>
                <a:gd name="T51" fmla="*/ 900 h 902"/>
                <a:gd name="T52" fmla="*/ 644 w 902"/>
                <a:gd name="T53" fmla="*/ 896 h 902"/>
                <a:gd name="T54" fmla="*/ 646 w 902"/>
                <a:gd name="T55" fmla="*/ 890 h 902"/>
                <a:gd name="T56" fmla="*/ 646 w 902"/>
                <a:gd name="T57" fmla="*/ 884 h 902"/>
                <a:gd name="T58" fmla="*/ 644 w 902"/>
                <a:gd name="T59" fmla="*/ 878 h 902"/>
                <a:gd name="T60" fmla="*/ 466 w 902"/>
                <a:gd name="T61" fmla="*/ 701 h 902"/>
                <a:gd name="T62" fmla="*/ 887 w 902"/>
                <a:gd name="T63" fmla="*/ 601 h 902"/>
                <a:gd name="T64" fmla="*/ 892 w 902"/>
                <a:gd name="T65" fmla="*/ 600 h 902"/>
                <a:gd name="T66" fmla="*/ 898 w 902"/>
                <a:gd name="T67" fmla="*/ 597 h 902"/>
                <a:gd name="T68" fmla="*/ 901 w 902"/>
                <a:gd name="T69" fmla="*/ 592 h 902"/>
                <a:gd name="T70" fmla="*/ 902 w 902"/>
                <a:gd name="T71" fmla="*/ 586 h 902"/>
                <a:gd name="T72" fmla="*/ 901 w 902"/>
                <a:gd name="T73" fmla="*/ 12 h 902"/>
                <a:gd name="T74" fmla="*/ 899 w 902"/>
                <a:gd name="T75" fmla="*/ 6 h 902"/>
                <a:gd name="T76" fmla="*/ 896 w 902"/>
                <a:gd name="T77" fmla="*/ 2 h 902"/>
                <a:gd name="T78" fmla="*/ 890 w 902"/>
                <a:gd name="T79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02" h="902">
                  <a:moveTo>
                    <a:pt x="872" y="571"/>
                  </a:moveTo>
                  <a:lnTo>
                    <a:pt x="30" y="571"/>
                  </a:lnTo>
                  <a:lnTo>
                    <a:pt x="30" y="30"/>
                  </a:lnTo>
                  <a:lnTo>
                    <a:pt x="872" y="30"/>
                  </a:lnTo>
                  <a:lnTo>
                    <a:pt x="872" y="571"/>
                  </a:lnTo>
                  <a:close/>
                  <a:moveTo>
                    <a:pt x="88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6"/>
                  </a:lnTo>
                  <a:lnTo>
                    <a:pt x="0" y="589"/>
                  </a:lnTo>
                  <a:lnTo>
                    <a:pt x="1" y="592"/>
                  </a:lnTo>
                  <a:lnTo>
                    <a:pt x="2" y="595"/>
                  </a:lnTo>
                  <a:lnTo>
                    <a:pt x="4" y="597"/>
                  </a:lnTo>
                  <a:lnTo>
                    <a:pt x="6" y="599"/>
                  </a:lnTo>
                  <a:lnTo>
                    <a:pt x="9" y="600"/>
                  </a:lnTo>
                  <a:lnTo>
                    <a:pt x="12" y="601"/>
                  </a:lnTo>
                  <a:lnTo>
                    <a:pt x="15" y="601"/>
                  </a:lnTo>
                  <a:lnTo>
                    <a:pt x="436" y="601"/>
                  </a:lnTo>
                  <a:lnTo>
                    <a:pt x="436" y="701"/>
                  </a:lnTo>
                  <a:lnTo>
                    <a:pt x="259" y="876"/>
                  </a:lnTo>
                  <a:lnTo>
                    <a:pt x="258" y="878"/>
                  </a:lnTo>
                  <a:lnTo>
                    <a:pt x="256" y="882"/>
                  </a:lnTo>
                  <a:lnTo>
                    <a:pt x="255" y="884"/>
                  </a:lnTo>
                  <a:lnTo>
                    <a:pt x="255" y="887"/>
                  </a:lnTo>
                  <a:lnTo>
                    <a:pt x="255" y="890"/>
                  </a:lnTo>
                  <a:lnTo>
                    <a:pt x="256" y="892"/>
                  </a:lnTo>
                  <a:lnTo>
                    <a:pt x="258" y="896"/>
                  </a:lnTo>
                  <a:lnTo>
                    <a:pt x="259" y="898"/>
                  </a:lnTo>
                  <a:lnTo>
                    <a:pt x="262" y="900"/>
                  </a:lnTo>
                  <a:lnTo>
                    <a:pt x="265" y="901"/>
                  </a:lnTo>
                  <a:lnTo>
                    <a:pt x="268" y="902"/>
                  </a:lnTo>
                  <a:lnTo>
                    <a:pt x="270" y="902"/>
                  </a:lnTo>
                  <a:lnTo>
                    <a:pt x="273" y="902"/>
                  </a:lnTo>
                  <a:lnTo>
                    <a:pt x="276" y="901"/>
                  </a:lnTo>
                  <a:lnTo>
                    <a:pt x="279" y="900"/>
                  </a:lnTo>
                  <a:lnTo>
                    <a:pt x="281" y="898"/>
                  </a:lnTo>
                  <a:lnTo>
                    <a:pt x="451" y="727"/>
                  </a:lnTo>
                  <a:lnTo>
                    <a:pt x="620" y="898"/>
                  </a:lnTo>
                  <a:lnTo>
                    <a:pt x="622" y="900"/>
                  </a:lnTo>
                  <a:lnTo>
                    <a:pt x="626" y="901"/>
                  </a:lnTo>
                  <a:lnTo>
                    <a:pt x="628" y="902"/>
                  </a:lnTo>
                  <a:lnTo>
                    <a:pt x="631" y="902"/>
                  </a:lnTo>
                  <a:lnTo>
                    <a:pt x="634" y="902"/>
                  </a:lnTo>
                  <a:lnTo>
                    <a:pt x="636" y="901"/>
                  </a:lnTo>
                  <a:lnTo>
                    <a:pt x="640" y="900"/>
                  </a:lnTo>
                  <a:lnTo>
                    <a:pt x="642" y="898"/>
                  </a:lnTo>
                  <a:lnTo>
                    <a:pt x="644" y="896"/>
                  </a:lnTo>
                  <a:lnTo>
                    <a:pt x="645" y="892"/>
                  </a:lnTo>
                  <a:lnTo>
                    <a:pt x="646" y="890"/>
                  </a:lnTo>
                  <a:lnTo>
                    <a:pt x="646" y="887"/>
                  </a:lnTo>
                  <a:lnTo>
                    <a:pt x="646" y="884"/>
                  </a:lnTo>
                  <a:lnTo>
                    <a:pt x="645" y="882"/>
                  </a:lnTo>
                  <a:lnTo>
                    <a:pt x="644" y="878"/>
                  </a:lnTo>
                  <a:lnTo>
                    <a:pt x="642" y="876"/>
                  </a:lnTo>
                  <a:lnTo>
                    <a:pt x="466" y="701"/>
                  </a:lnTo>
                  <a:lnTo>
                    <a:pt x="466" y="601"/>
                  </a:lnTo>
                  <a:lnTo>
                    <a:pt x="887" y="601"/>
                  </a:lnTo>
                  <a:lnTo>
                    <a:pt x="890" y="601"/>
                  </a:lnTo>
                  <a:lnTo>
                    <a:pt x="892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899" y="595"/>
                  </a:lnTo>
                  <a:lnTo>
                    <a:pt x="901" y="592"/>
                  </a:lnTo>
                  <a:lnTo>
                    <a:pt x="901" y="589"/>
                  </a:lnTo>
                  <a:lnTo>
                    <a:pt x="902" y="586"/>
                  </a:lnTo>
                  <a:lnTo>
                    <a:pt x="902" y="15"/>
                  </a:lnTo>
                  <a:lnTo>
                    <a:pt x="901" y="12"/>
                  </a:lnTo>
                  <a:lnTo>
                    <a:pt x="901" y="9"/>
                  </a:lnTo>
                  <a:lnTo>
                    <a:pt x="899" y="6"/>
                  </a:lnTo>
                  <a:lnTo>
                    <a:pt x="898" y="4"/>
                  </a:lnTo>
                  <a:lnTo>
                    <a:pt x="896" y="2"/>
                  </a:lnTo>
                  <a:lnTo>
                    <a:pt x="892" y="1"/>
                  </a:lnTo>
                  <a:lnTo>
                    <a:pt x="890" y="0"/>
                  </a:lnTo>
                  <a:lnTo>
                    <a:pt x="8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09"/>
            <p:cNvSpPr>
              <a:spLocks noEditPoints="1"/>
            </p:cNvSpPr>
            <p:nvPr/>
          </p:nvSpPr>
          <p:spPr bwMode="auto">
            <a:xfrm>
              <a:off x="8193088" y="4819650"/>
              <a:ext cx="228600" cy="133350"/>
            </a:xfrm>
            <a:custGeom>
              <a:avLst/>
              <a:gdLst>
                <a:gd name="T0" fmla="*/ 691 w 722"/>
                <a:gd name="T1" fmla="*/ 391 h 421"/>
                <a:gd name="T2" fmla="*/ 30 w 722"/>
                <a:gd name="T3" fmla="*/ 241 h 421"/>
                <a:gd name="T4" fmla="*/ 153 w 722"/>
                <a:gd name="T5" fmla="*/ 240 h 421"/>
                <a:gd name="T6" fmla="*/ 159 w 722"/>
                <a:gd name="T7" fmla="*/ 238 h 421"/>
                <a:gd name="T8" fmla="*/ 229 w 722"/>
                <a:gd name="T9" fmla="*/ 165 h 421"/>
                <a:gd name="T10" fmla="*/ 288 w 722"/>
                <a:gd name="T11" fmla="*/ 310 h 421"/>
                <a:gd name="T12" fmla="*/ 294 w 722"/>
                <a:gd name="T13" fmla="*/ 314 h 421"/>
                <a:gd name="T14" fmla="*/ 299 w 722"/>
                <a:gd name="T15" fmla="*/ 316 h 421"/>
                <a:gd name="T16" fmla="*/ 303 w 722"/>
                <a:gd name="T17" fmla="*/ 316 h 421"/>
                <a:gd name="T18" fmla="*/ 309 w 722"/>
                <a:gd name="T19" fmla="*/ 313 h 421"/>
                <a:gd name="T20" fmla="*/ 406 w 722"/>
                <a:gd name="T21" fmla="*/ 216 h 421"/>
                <a:gd name="T22" fmla="*/ 472 w 722"/>
                <a:gd name="T23" fmla="*/ 283 h 421"/>
                <a:gd name="T24" fmla="*/ 479 w 722"/>
                <a:gd name="T25" fmla="*/ 286 h 421"/>
                <a:gd name="T26" fmla="*/ 485 w 722"/>
                <a:gd name="T27" fmla="*/ 285 h 421"/>
                <a:gd name="T28" fmla="*/ 491 w 722"/>
                <a:gd name="T29" fmla="*/ 283 h 421"/>
                <a:gd name="T30" fmla="*/ 628 w 722"/>
                <a:gd name="T31" fmla="*/ 115 h 421"/>
                <a:gd name="T32" fmla="*/ 631 w 722"/>
                <a:gd name="T33" fmla="*/ 109 h 421"/>
                <a:gd name="T34" fmla="*/ 631 w 722"/>
                <a:gd name="T35" fmla="*/ 104 h 421"/>
                <a:gd name="T36" fmla="*/ 630 w 722"/>
                <a:gd name="T37" fmla="*/ 99 h 421"/>
                <a:gd name="T38" fmla="*/ 626 w 722"/>
                <a:gd name="T39" fmla="*/ 93 h 421"/>
                <a:gd name="T40" fmla="*/ 620 w 722"/>
                <a:gd name="T41" fmla="*/ 91 h 421"/>
                <a:gd name="T42" fmla="*/ 615 w 722"/>
                <a:gd name="T43" fmla="*/ 90 h 421"/>
                <a:gd name="T44" fmla="*/ 610 w 722"/>
                <a:gd name="T45" fmla="*/ 92 h 421"/>
                <a:gd name="T46" fmla="*/ 604 w 722"/>
                <a:gd name="T47" fmla="*/ 95 h 421"/>
                <a:gd name="T48" fmla="*/ 417 w 722"/>
                <a:gd name="T49" fmla="*/ 185 h 421"/>
                <a:gd name="T50" fmla="*/ 411 w 722"/>
                <a:gd name="T51" fmla="*/ 181 h 421"/>
                <a:gd name="T52" fmla="*/ 406 w 722"/>
                <a:gd name="T53" fmla="*/ 180 h 421"/>
                <a:gd name="T54" fmla="*/ 400 w 722"/>
                <a:gd name="T55" fmla="*/ 181 h 421"/>
                <a:gd name="T56" fmla="*/ 395 w 722"/>
                <a:gd name="T57" fmla="*/ 185 h 421"/>
                <a:gd name="T58" fmla="*/ 249 w 722"/>
                <a:gd name="T59" fmla="*/ 132 h 421"/>
                <a:gd name="T60" fmla="*/ 243 w 722"/>
                <a:gd name="T61" fmla="*/ 126 h 421"/>
                <a:gd name="T62" fmla="*/ 237 w 722"/>
                <a:gd name="T63" fmla="*/ 123 h 421"/>
                <a:gd name="T64" fmla="*/ 229 w 722"/>
                <a:gd name="T65" fmla="*/ 123 h 421"/>
                <a:gd name="T66" fmla="*/ 223 w 722"/>
                <a:gd name="T67" fmla="*/ 128 h 421"/>
                <a:gd name="T68" fmla="*/ 30 w 722"/>
                <a:gd name="T69" fmla="*/ 211 h 421"/>
                <a:gd name="T70" fmla="*/ 691 w 722"/>
                <a:gd name="T71" fmla="*/ 30 h 421"/>
                <a:gd name="T72" fmla="*/ 707 w 722"/>
                <a:gd name="T73" fmla="*/ 421 h 421"/>
                <a:gd name="T74" fmla="*/ 712 w 722"/>
                <a:gd name="T75" fmla="*/ 420 h 421"/>
                <a:gd name="T76" fmla="*/ 717 w 722"/>
                <a:gd name="T77" fmla="*/ 417 h 421"/>
                <a:gd name="T78" fmla="*/ 720 w 722"/>
                <a:gd name="T79" fmla="*/ 411 h 421"/>
                <a:gd name="T80" fmla="*/ 722 w 722"/>
                <a:gd name="T81" fmla="*/ 406 h 421"/>
                <a:gd name="T82" fmla="*/ 721 w 722"/>
                <a:gd name="T83" fmla="*/ 12 h 421"/>
                <a:gd name="T84" fmla="*/ 719 w 722"/>
                <a:gd name="T85" fmla="*/ 6 h 421"/>
                <a:gd name="T86" fmla="*/ 715 w 722"/>
                <a:gd name="T87" fmla="*/ 2 h 421"/>
                <a:gd name="T88" fmla="*/ 709 w 722"/>
                <a:gd name="T89" fmla="*/ 0 h 421"/>
                <a:gd name="T90" fmla="*/ 15 w 722"/>
                <a:gd name="T91" fmla="*/ 0 h 421"/>
                <a:gd name="T92" fmla="*/ 9 w 722"/>
                <a:gd name="T93" fmla="*/ 1 h 421"/>
                <a:gd name="T94" fmla="*/ 4 w 722"/>
                <a:gd name="T95" fmla="*/ 4 h 421"/>
                <a:gd name="T96" fmla="*/ 1 w 722"/>
                <a:gd name="T97" fmla="*/ 10 h 421"/>
                <a:gd name="T98" fmla="*/ 0 w 722"/>
                <a:gd name="T99" fmla="*/ 15 h 421"/>
                <a:gd name="T100" fmla="*/ 0 w 722"/>
                <a:gd name="T101" fmla="*/ 409 h 421"/>
                <a:gd name="T102" fmla="*/ 2 w 722"/>
                <a:gd name="T103" fmla="*/ 415 h 421"/>
                <a:gd name="T104" fmla="*/ 6 w 722"/>
                <a:gd name="T105" fmla="*/ 419 h 421"/>
                <a:gd name="T106" fmla="*/ 12 w 722"/>
                <a:gd name="T107" fmla="*/ 421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22" h="421">
                  <a:moveTo>
                    <a:pt x="691" y="30"/>
                  </a:moveTo>
                  <a:lnTo>
                    <a:pt x="691" y="391"/>
                  </a:lnTo>
                  <a:lnTo>
                    <a:pt x="30" y="391"/>
                  </a:lnTo>
                  <a:lnTo>
                    <a:pt x="30" y="241"/>
                  </a:lnTo>
                  <a:lnTo>
                    <a:pt x="150" y="241"/>
                  </a:lnTo>
                  <a:lnTo>
                    <a:pt x="153" y="240"/>
                  </a:lnTo>
                  <a:lnTo>
                    <a:pt x="156" y="239"/>
                  </a:lnTo>
                  <a:lnTo>
                    <a:pt x="159" y="238"/>
                  </a:lnTo>
                  <a:lnTo>
                    <a:pt x="161" y="236"/>
                  </a:lnTo>
                  <a:lnTo>
                    <a:pt x="229" y="165"/>
                  </a:lnTo>
                  <a:lnTo>
                    <a:pt x="287" y="306"/>
                  </a:lnTo>
                  <a:lnTo>
                    <a:pt x="288" y="310"/>
                  </a:lnTo>
                  <a:lnTo>
                    <a:pt x="291" y="313"/>
                  </a:lnTo>
                  <a:lnTo>
                    <a:pt x="294" y="314"/>
                  </a:lnTo>
                  <a:lnTo>
                    <a:pt x="298" y="316"/>
                  </a:lnTo>
                  <a:lnTo>
                    <a:pt x="299" y="316"/>
                  </a:lnTo>
                  <a:lnTo>
                    <a:pt x="301" y="316"/>
                  </a:lnTo>
                  <a:lnTo>
                    <a:pt x="303" y="316"/>
                  </a:lnTo>
                  <a:lnTo>
                    <a:pt x="306" y="315"/>
                  </a:lnTo>
                  <a:lnTo>
                    <a:pt x="309" y="313"/>
                  </a:lnTo>
                  <a:lnTo>
                    <a:pt x="312" y="312"/>
                  </a:lnTo>
                  <a:lnTo>
                    <a:pt x="406" y="216"/>
                  </a:lnTo>
                  <a:lnTo>
                    <a:pt x="470" y="282"/>
                  </a:lnTo>
                  <a:lnTo>
                    <a:pt x="472" y="283"/>
                  </a:lnTo>
                  <a:lnTo>
                    <a:pt x="476" y="285"/>
                  </a:lnTo>
                  <a:lnTo>
                    <a:pt x="479" y="286"/>
                  </a:lnTo>
                  <a:lnTo>
                    <a:pt x="482" y="286"/>
                  </a:lnTo>
                  <a:lnTo>
                    <a:pt x="485" y="285"/>
                  </a:lnTo>
                  <a:lnTo>
                    <a:pt x="487" y="284"/>
                  </a:lnTo>
                  <a:lnTo>
                    <a:pt x="491" y="283"/>
                  </a:lnTo>
                  <a:lnTo>
                    <a:pt x="493" y="281"/>
                  </a:lnTo>
                  <a:lnTo>
                    <a:pt x="628" y="115"/>
                  </a:lnTo>
                  <a:lnTo>
                    <a:pt x="630" y="113"/>
                  </a:lnTo>
                  <a:lnTo>
                    <a:pt x="631" y="109"/>
                  </a:lnTo>
                  <a:lnTo>
                    <a:pt x="631" y="106"/>
                  </a:lnTo>
                  <a:lnTo>
                    <a:pt x="631" y="104"/>
                  </a:lnTo>
                  <a:lnTo>
                    <a:pt x="631" y="101"/>
                  </a:lnTo>
                  <a:lnTo>
                    <a:pt x="630" y="99"/>
                  </a:lnTo>
                  <a:lnTo>
                    <a:pt x="628" y="95"/>
                  </a:lnTo>
                  <a:lnTo>
                    <a:pt x="626" y="93"/>
                  </a:lnTo>
                  <a:lnTo>
                    <a:pt x="623" y="92"/>
                  </a:lnTo>
                  <a:lnTo>
                    <a:pt x="620" y="91"/>
                  </a:lnTo>
                  <a:lnTo>
                    <a:pt x="618" y="90"/>
                  </a:lnTo>
                  <a:lnTo>
                    <a:pt x="615" y="90"/>
                  </a:lnTo>
                  <a:lnTo>
                    <a:pt x="612" y="91"/>
                  </a:lnTo>
                  <a:lnTo>
                    <a:pt x="610" y="92"/>
                  </a:lnTo>
                  <a:lnTo>
                    <a:pt x="606" y="93"/>
                  </a:lnTo>
                  <a:lnTo>
                    <a:pt x="604" y="95"/>
                  </a:lnTo>
                  <a:lnTo>
                    <a:pt x="480" y="249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1" y="181"/>
                  </a:lnTo>
                  <a:lnTo>
                    <a:pt x="409" y="181"/>
                  </a:lnTo>
                  <a:lnTo>
                    <a:pt x="406" y="180"/>
                  </a:lnTo>
                  <a:lnTo>
                    <a:pt x="403" y="181"/>
                  </a:lnTo>
                  <a:lnTo>
                    <a:pt x="400" y="181"/>
                  </a:lnTo>
                  <a:lnTo>
                    <a:pt x="397" y="183"/>
                  </a:lnTo>
                  <a:lnTo>
                    <a:pt x="395" y="185"/>
                  </a:lnTo>
                  <a:lnTo>
                    <a:pt x="306" y="274"/>
                  </a:lnTo>
                  <a:lnTo>
                    <a:pt x="249" y="132"/>
                  </a:lnTo>
                  <a:lnTo>
                    <a:pt x="246" y="129"/>
                  </a:lnTo>
                  <a:lnTo>
                    <a:pt x="243" y="126"/>
                  </a:lnTo>
                  <a:lnTo>
                    <a:pt x="241" y="124"/>
                  </a:lnTo>
                  <a:lnTo>
                    <a:pt x="237" y="123"/>
                  </a:lnTo>
                  <a:lnTo>
                    <a:pt x="234" y="123"/>
                  </a:lnTo>
                  <a:lnTo>
                    <a:pt x="229" y="123"/>
                  </a:lnTo>
                  <a:lnTo>
                    <a:pt x="226" y="125"/>
                  </a:lnTo>
                  <a:lnTo>
                    <a:pt x="223" y="128"/>
                  </a:lnTo>
                  <a:lnTo>
                    <a:pt x="144" y="211"/>
                  </a:lnTo>
                  <a:lnTo>
                    <a:pt x="30" y="211"/>
                  </a:lnTo>
                  <a:lnTo>
                    <a:pt x="30" y="30"/>
                  </a:lnTo>
                  <a:lnTo>
                    <a:pt x="691" y="30"/>
                  </a:lnTo>
                  <a:close/>
                  <a:moveTo>
                    <a:pt x="15" y="421"/>
                  </a:moveTo>
                  <a:lnTo>
                    <a:pt x="707" y="421"/>
                  </a:lnTo>
                  <a:lnTo>
                    <a:pt x="709" y="421"/>
                  </a:lnTo>
                  <a:lnTo>
                    <a:pt x="712" y="420"/>
                  </a:lnTo>
                  <a:lnTo>
                    <a:pt x="715" y="419"/>
                  </a:lnTo>
                  <a:lnTo>
                    <a:pt x="717" y="417"/>
                  </a:lnTo>
                  <a:lnTo>
                    <a:pt x="719" y="415"/>
                  </a:lnTo>
                  <a:lnTo>
                    <a:pt x="720" y="411"/>
                  </a:lnTo>
                  <a:lnTo>
                    <a:pt x="721" y="409"/>
                  </a:lnTo>
                  <a:lnTo>
                    <a:pt x="722" y="406"/>
                  </a:lnTo>
                  <a:lnTo>
                    <a:pt x="722" y="15"/>
                  </a:lnTo>
                  <a:lnTo>
                    <a:pt x="721" y="12"/>
                  </a:lnTo>
                  <a:lnTo>
                    <a:pt x="720" y="10"/>
                  </a:lnTo>
                  <a:lnTo>
                    <a:pt x="719" y="6"/>
                  </a:lnTo>
                  <a:lnTo>
                    <a:pt x="717" y="4"/>
                  </a:lnTo>
                  <a:lnTo>
                    <a:pt x="715" y="2"/>
                  </a:lnTo>
                  <a:lnTo>
                    <a:pt x="712" y="1"/>
                  </a:lnTo>
                  <a:lnTo>
                    <a:pt x="709" y="0"/>
                  </a:lnTo>
                  <a:lnTo>
                    <a:pt x="70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406"/>
                  </a:lnTo>
                  <a:lnTo>
                    <a:pt x="0" y="409"/>
                  </a:lnTo>
                  <a:lnTo>
                    <a:pt x="1" y="411"/>
                  </a:lnTo>
                  <a:lnTo>
                    <a:pt x="2" y="415"/>
                  </a:lnTo>
                  <a:lnTo>
                    <a:pt x="4" y="417"/>
                  </a:lnTo>
                  <a:lnTo>
                    <a:pt x="6" y="419"/>
                  </a:lnTo>
                  <a:lnTo>
                    <a:pt x="9" y="420"/>
                  </a:lnTo>
                  <a:lnTo>
                    <a:pt x="12" y="421"/>
                  </a:lnTo>
                  <a:lnTo>
                    <a:pt x="15" y="4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4497845" y="2620772"/>
            <a:ext cx="347809" cy="349742"/>
            <a:chOff x="10455275" y="2498725"/>
            <a:chExt cx="285750" cy="287338"/>
          </a:xfrm>
          <a:solidFill>
            <a:schemeClr val="bg1"/>
          </a:solidFill>
        </p:grpSpPr>
        <p:sp>
          <p:nvSpPr>
            <p:cNvPr id="117" name="Freeform 214"/>
            <p:cNvSpPr>
              <a:spLocks noEditPoints="1"/>
            </p:cNvSpPr>
            <p:nvPr/>
          </p:nvSpPr>
          <p:spPr bwMode="auto">
            <a:xfrm>
              <a:off x="10455275" y="2593975"/>
              <a:ext cx="285750" cy="192088"/>
            </a:xfrm>
            <a:custGeom>
              <a:avLst/>
              <a:gdLst>
                <a:gd name="T0" fmla="*/ 812 w 903"/>
                <a:gd name="T1" fmla="*/ 30 h 601"/>
                <a:gd name="T2" fmla="*/ 512 w 903"/>
                <a:gd name="T3" fmla="*/ 571 h 601"/>
                <a:gd name="T4" fmla="*/ 602 w 903"/>
                <a:gd name="T5" fmla="*/ 571 h 601"/>
                <a:gd name="T6" fmla="*/ 301 w 903"/>
                <a:gd name="T7" fmla="*/ 210 h 601"/>
                <a:gd name="T8" fmla="*/ 301 w 903"/>
                <a:gd name="T9" fmla="*/ 571 h 601"/>
                <a:gd name="T10" fmla="*/ 181 w 903"/>
                <a:gd name="T11" fmla="*/ 421 h 601"/>
                <a:gd name="T12" fmla="*/ 888 w 903"/>
                <a:gd name="T13" fmla="*/ 571 h 601"/>
                <a:gd name="T14" fmla="*/ 842 w 903"/>
                <a:gd name="T15" fmla="*/ 12 h 601"/>
                <a:gd name="T16" fmla="*/ 838 w 903"/>
                <a:gd name="T17" fmla="*/ 5 h 601"/>
                <a:gd name="T18" fmla="*/ 830 w 903"/>
                <a:gd name="T19" fmla="*/ 0 h 601"/>
                <a:gd name="T20" fmla="*/ 704 w 903"/>
                <a:gd name="T21" fmla="*/ 0 h 601"/>
                <a:gd name="T22" fmla="*/ 696 w 903"/>
                <a:gd name="T23" fmla="*/ 5 h 601"/>
                <a:gd name="T24" fmla="*/ 692 w 903"/>
                <a:gd name="T25" fmla="*/ 12 h 601"/>
                <a:gd name="T26" fmla="*/ 632 w 903"/>
                <a:gd name="T27" fmla="*/ 571 h 601"/>
                <a:gd name="T28" fmla="*/ 631 w 903"/>
                <a:gd name="T29" fmla="*/ 280 h 601"/>
                <a:gd name="T30" fmla="*/ 626 w 903"/>
                <a:gd name="T31" fmla="*/ 274 h 601"/>
                <a:gd name="T32" fmla="*/ 617 w 903"/>
                <a:gd name="T33" fmla="*/ 270 h 601"/>
                <a:gd name="T34" fmla="*/ 491 w 903"/>
                <a:gd name="T35" fmla="*/ 271 h 601"/>
                <a:gd name="T36" fmla="*/ 484 w 903"/>
                <a:gd name="T37" fmla="*/ 278 h 601"/>
                <a:gd name="T38" fmla="*/ 482 w 903"/>
                <a:gd name="T39" fmla="*/ 285 h 601"/>
                <a:gd name="T40" fmla="*/ 421 w 903"/>
                <a:gd name="T41" fmla="*/ 195 h 601"/>
                <a:gd name="T42" fmla="*/ 419 w 903"/>
                <a:gd name="T43" fmla="*/ 187 h 601"/>
                <a:gd name="T44" fmla="*/ 412 w 903"/>
                <a:gd name="T45" fmla="*/ 181 h 601"/>
                <a:gd name="T46" fmla="*/ 286 w 903"/>
                <a:gd name="T47" fmla="*/ 180 h 601"/>
                <a:gd name="T48" fmla="*/ 277 w 903"/>
                <a:gd name="T49" fmla="*/ 184 h 601"/>
                <a:gd name="T50" fmla="*/ 272 w 903"/>
                <a:gd name="T51" fmla="*/ 190 h 601"/>
                <a:gd name="T52" fmla="*/ 271 w 903"/>
                <a:gd name="T53" fmla="*/ 571 h 601"/>
                <a:gd name="T54" fmla="*/ 211 w 903"/>
                <a:gd name="T55" fmla="*/ 403 h 601"/>
                <a:gd name="T56" fmla="*/ 207 w 903"/>
                <a:gd name="T57" fmla="*/ 396 h 601"/>
                <a:gd name="T58" fmla="*/ 199 w 903"/>
                <a:gd name="T59" fmla="*/ 391 h 601"/>
                <a:gd name="T60" fmla="*/ 73 w 903"/>
                <a:gd name="T61" fmla="*/ 391 h 601"/>
                <a:gd name="T62" fmla="*/ 65 w 903"/>
                <a:gd name="T63" fmla="*/ 396 h 601"/>
                <a:gd name="T64" fmla="*/ 61 w 903"/>
                <a:gd name="T65" fmla="*/ 403 h 601"/>
                <a:gd name="T66" fmla="*/ 16 w 903"/>
                <a:gd name="T67" fmla="*/ 571 h 601"/>
                <a:gd name="T68" fmla="*/ 7 w 903"/>
                <a:gd name="T69" fmla="*/ 573 h 601"/>
                <a:gd name="T70" fmla="*/ 2 w 903"/>
                <a:gd name="T71" fmla="*/ 581 h 601"/>
                <a:gd name="T72" fmla="*/ 1 w 903"/>
                <a:gd name="T73" fmla="*/ 590 h 601"/>
                <a:gd name="T74" fmla="*/ 5 w 903"/>
                <a:gd name="T75" fmla="*/ 597 h 601"/>
                <a:gd name="T76" fmla="*/ 13 w 903"/>
                <a:gd name="T77" fmla="*/ 601 h 601"/>
                <a:gd name="T78" fmla="*/ 196 w 903"/>
                <a:gd name="T79" fmla="*/ 601 h 601"/>
                <a:gd name="T80" fmla="*/ 497 w 903"/>
                <a:gd name="T81" fmla="*/ 601 h 601"/>
                <a:gd name="T82" fmla="*/ 827 w 903"/>
                <a:gd name="T83" fmla="*/ 601 h 601"/>
                <a:gd name="T84" fmla="*/ 893 w 903"/>
                <a:gd name="T85" fmla="*/ 600 h 601"/>
                <a:gd name="T86" fmla="*/ 900 w 903"/>
                <a:gd name="T87" fmla="*/ 595 h 601"/>
                <a:gd name="T88" fmla="*/ 903 w 903"/>
                <a:gd name="T89" fmla="*/ 586 h 601"/>
                <a:gd name="T90" fmla="*/ 900 w 903"/>
                <a:gd name="T91" fmla="*/ 578 h 601"/>
                <a:gd name="T92" fmla="*/ 893 w 903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3" h="601">
                  <a:moveTo>
                    <a:pt x="722" y="571"/>
                  </a:moveTo>
                  <a:lnTo>
                    <a:pt x="722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2" y="571"/>
                  </a:lnTo>
                  <a:close/>
                  <a:moveTo>
                    <a:pt x="512" y="571"/>
                  </a:moveTo>
                  <a:lnTo>
                    <a:pt x="512" y="300"/>
                  </a:lnTo>
                  <a:lnTo>
                    <a:pt x="602" y="300"/>
                  </a:lnTo>
                  <a:lnTo>
                    <a:pt x="602" y="571"/>
                  </a:lnTo>
                  <a:lnTo>
                    <a:pt x="512" y="571"/>
                  </a:lnTo>
                  <a:close/>
                  <a:moveTo>
                    <a:pt x="301" y="571"/>
                  </a:moveTo>
                  <a:lnTo>
                    <a:pt x="301" y="210"/>
                  </a:lnTo>
                  <a:lnTo>
                    <a:pt x="391" y="210"/>
                  </a:lnTo>
                  <a:lnTo>
                    <a:pt x="391" y="571"/>
                  </a:lnTo>
                  <a:lnTo>
                    <a:pt x="301" y="571"/>
                  </a:lnTo>
                  <a:close/>
                  <a:moveTo>
                    <a:pt x="91" y="571"/>
                  </a:moveTo>
                  <a:lnTo>
                    <a:pt x="91" y="421"/>
                  </a:lnTo>
                  <a:lnTo>
                    <a:pt x="181" y="421"/>
                  </a:lnTo>
                  <a:lnTo>
                    <a:pt x="181" y="571"/>
                  </a:lnTo>
                  <a:lnTo>
                    <a:pt x="91" y="571"/>
                  </a:lnTo>
                  <a:close/>
                  <a:moveTo>
                    <a:pt x="888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2" y="12"/>
                  </a:lnTo>
                  <a:lnTo>
                    <a:pt x="841" y="9"/>
                  </a:lnTo>
                  <a:lnTo>
                    <a:pt x="840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3" y="1"/>
                  </a:lnTo>
                  <a:lnTo>
                    <a:pt x="830" y="0"/>
                  </a:lnTo>
                  <a:lnTo>
                    <a:pt x="827" y="0"/>
                  </a:lnTo>
                  <a:lnTo>
                    <a:pt x="707" y="0"/>
                  </a:lnTo>
                  <a:lnTo>
                    <a:pt x="704" y="0"/>
                  </a:lnTo>
                  <a:lnTo>
                    <a:pt x="702" y="1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4" y="7"/>
                  </a:lnTo>
                  <a:lnTo>
                    <a:pt x="693" y="9"/>
                  </a:lnTo>
                  <a:lnTo>
                    <a:pt x="692" y="12"/>
                  </a:lnTo>
                  <a:lnTo>
                    <a:pt x="692" y="15"/>
                  </a:lnTo>
                  <a:lnTo>
                    <a:pt x="692" y="571"/>
                  </a:lnTo>
                  <a:lnTo>
                    <a:pt x="632" y="571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1" y="280"/>
                  </a:lnTo>
                  <a:lnTo>
                    <a:pt x="630" y="278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2" y="271"/>
                  </a:lnTo>
                  <a:lnTo>
                    <a:pt x="620" y="271"/>
                  </a:lnTo>
                  <a:lnTo>
                    <a:pt x="617" y="270"/>
                  </a:lnTo>
                  <a:lnTo>
                    <a:pt x="497" y="270"/>
                  </a:lnTo>
                  <a:lnTo>
                    <a:pt x="494" y="271"/>
                  </a:lnTo>
                  <a:lnTo>
                    <a:pt x="491" y="271"/>
                  </a:lnTo>
                  <a:lnTo>
                    <a:pt x="488" y="274"/>
                  </a:lnTo>
                  <a:lnTo>
                    <a:pt x="486" y="275"/>
                  </a:lnTo>
                  <a:lnTo>
                    <a:pt x="484" y="278"/>
                  </a:lnTo>
                  <a:lnTo>
                    <a:pt x="483" y="280"/>
                  </a:lnTo>
                  <a:lnTo>
                    <a:pt x="482" y="283"/>
                  </a:lnTo>
                  <a:lnTo>
                    <a:pt x="482" y="285"/>
                  </a:lnTo>
                  <a:lnTo>
                    <a:pt x="482" y="571"/>
                  </a:lnTo>
                  <a:lnTo>
                    <a:pt x="421" y="571"/>
                  </a:lnTo>
                  <a:lnTo>
                    <a:pt x="421" y="195"/>
                  </a:lnTo>
                  <a:lnTo>
                    <a:pt x="421" y="192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4"/>
                  </a:lnTo>
                  <a:lnTo>
                    <a:pt x="412" y="181"/>
                  </a:lnTo>
                  <a:lnTo>
                    <a:pt x="409" y="180"/>
                  </a:lnTo>
                  <a:lnTo>
                    <a:pt x="406" y="180"/>
                  </a:lnTo>
                  <a:lnTo>
                    <a:pt x="286" y="180"/>
                  </a:lnTo>
                  <a:lnTo>
                    <a:pt x="283" y="180"/>
                  </a:lnTo>
                  <a:lnTo>
                    <a:pt x="281" y="181"/>
                  </a:lnTo>
                  <a:lnTo>
                    <a:pt x="277" y="184"/>
                  </a:lnTo>
                  <a:lnTo>
                    <a:pt x="275" y="185"/>
                  </a:lnTo>
                  <a:lnTo>
                    <a:pt x="274" y="187"/>
                  </a:lnTo>
                  <a:lnTo>
                    <a:pt x="272" y="190"/>
                  </a:lnTo>
                  <a:lnTo>
                    <a:pt x="271" y="192"/>
                  </a:lnTo>
                  <a:lnTo>
                    <a:pt x="271" y="195"/>
                  </a:lnTo>
                  <a:lnTo>
                    <a:pt x="271" y="571"/>
                  </a:lnTo>
                  <a:lnTo>
                    <a:pt x="211" y="571"/>
                  </a:lnTo>
                  <a:lnTo>
                    <a:pt x="211" y="406"/>
                  </a:lnTo>
                  <a:lnTo>
                    <a:pt x="211" y="403"/>
                  </a:lnTo>
                  <a:lnTo>
                    <a:pt x="210" y="400"/>
                  </a:lnTo>
                  <a:lnTo>
                    <a:pt x="209" y="398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2"/>
                  </a:lnTo>
                  <a:lnTo>
                    <a:pt x="199" y="391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1"/>
                  </a:lnTo>
                  <a:lnTo>
                    <a:pt x="70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8"/>
                  </a:lnTo>
                  <a:lnTo>
                    <a:pt x="62" y="400"/>
                  </a:lnTo>
                  <a:lnTo>
                    <a:pt x="61" y="403"/>
                  </a:lnTo>
                  <a:lnTo>
                    <a:pt x="61" y="406"/>
                  </a:lnTo>
                  <a:lnTo>
                    <a:pt x="61" y="571"/>
                  </a:lnTo>
                  <a:lnTo>
                    <a:pt x="16" y="571"/>
                  </a:lnTo>
                  <a:lnTo>
                    <a:pt x="13" y="571"/>
                  </a:lnTo>
                  <a:lnTo>
                    <a:pt x="10" y="572"/>
                  </a:lnTo>
                  <a:lnTo>
                    <a:pt x="7" y="573"/>
                  </a:lnTo>
                  <a:lnTo>
                    <a:pt x="5" y="576"/>
                  </a:lnTo>
                  <a:lnTo>
                    <a:pt x="3" y="578"/>
                  </a:lnTo>
                  <a:lnTo>
                    <a:pt x="2" y="581"/>
                  </a:lnTo>
                  <a:lnTo>
                    <a:pt x="1" y="583"/>
                  </a:lnTo>
                  <a:lnTo>
                    <a:pt x="0" y="586"/>
                  </a:lnTo>
                  <a:lnTo>
                    <a:pt x="1" y="590"/>
                  </a:lnTo>
                  <a:lnTo>
                    <a:pt x="2" y="593"/>
                  </a:lnTo>
                  <a:lnTo>
                    <a:pt x="3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10" y="600"/>
                  </a:lnTo>
                  <a:lnTo>
                    <a:pt x="13" y="601"/>
                  </a:lnTo>
                  <a:lnTo>
                    <a:pt x="16" y="601"/>
                  </a:lnTo>
                  <a:lnTo>
                    <a:pt x="76" y="601"/>
                  </a:lnTo>
                  <a:lnTo>
                    <a:pt x="196" y="601"/>
                  </a:lnTo>
                  <a:lnTo>
                    <a:pt x="286" y="601"/>
                  </a:lnTo>
                  <a:lnTo>
                    <a:pt x="406" y="601"/>
                  </a:lnTo>
                  <a:lnTo>
                    <a:pt x="497" y="601"/>
                  </a:lnTo>
                  <a:lnTo>
                    <a:pt x="617" y="601"/>
                  </a:lnTo>
                  <a:lnTo>
                    <a:pt x="707" y="601"/>
                  </a:lnTo>
                  <a:lnTo>
                    <a:pt x="827" y="601"/>
                  </a:lnTo>
                  <a:lnTo>
                    <a:pt x="888" y="601"/>
                  </a:lnTo>
                  <a:lnTo>
                    <a:pt x="890" y="601"/>
                  </a:lnTo>
                  <a:lnTo>
                    <a:pt x="893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900" y="595"/>
                  </a:lnTo>
                  <a:lnTo>
                    <a:pt x="901" y="593"/>
                  </a:lnTo>
                  <a:lnTo>
                    <a:pt x="902" y="590"/>
                  </a:lnTo>
                  <a:lnTo>
                    <a:pt x="903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900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3" y="572"/>
                  </a:lnTo>
                  <a:lnTo>
                    <a:pt x="890" y="571"/>
                  </a:lnTo>
                  <a:lnTo>
                    <a:pt x="888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215"/>
            <p:cNvSpPr>
              <a:spLocks noEditPoints="1"/>
            </p:cNvSpPr>
            <p:nvPr/>
          </p:nvSpPr>
          <p:spPr bwMode="auto">
            <a:xfrm>
              <a:off x="10474325" y="2498725"/>
              <a:ext cx="252413" cy="157163"/>
            </a:xfrm>
            <a:custGeom>
              <a:avLst/>
              <a:gdLst>
                <a:gd name="T0" fmla="*/ 83 w 796"/>
                <a:gd name="T1" fmla="*/ 417 h 496"/>
                <a:gd name="T2" fmla="*/ 89 w 796"/>
                <a:gd name="T3" fmla="*/ 431 h 496"/>
                <a:gd name="T4" fmla="*/ 76 w 796"/>
                <a:gd name="T5" fmla="*/ 461 h 496"/>
                <a:gd name="T6" fmla="*/ 43 w 796"/>
                <a:gd name="T7" fmla="*/ 461 h 496"/>
                <a:gd name="T8" fmla="*/ 30 w 796"/>
                <a:gd name="T9" fmla="*/ 430 h 496"/>
                <a:gd name="T10" fmla="*/ 54 w 796"/>
                <a:gd name="T11" fmla="*/ 407 h 496"/>
                <a:gd name="T12" fmla="*/ 302 w 796"/>
                <a:gd name="T13" fmla="*/ 216 h 496"/>
                <a:gd name="T14" fmla="*/ 315 w 796"/>
                <a:gd name="T15" fmla="*/ 247 h 496"/>
                <a:gd name="T16" fmla="*/ 291 w 796"/>
                <a:gd name="T17" fmla="*/ 270 h 496"/>
                <a:gd name="T18" fmla="*/ 260 w 796"/>
                <a:gd name="T19" fmla="*/ 257 h 496"/>
                <a:gd name="T20" fmla="*/ 260 w 796"/>
                <a:gd name="T21" fmla="*/ 224 h 496"/>
                <a:gd name="T22" fmla="*/ 511 w 796"/>
                <a:gd name="T23" fmla="*/ 301 h 496"/>
                <a:gd name="T24" fmla="*/ 530 w 796"/>
                <a:gd name="T25" fmla="*/ 308 h 496"/>
                <a:gd name="T26" fmla="*/ 541 w 796"/>
                <a:gd name="T27" fmla="*/ 331 h 496"/>
                <a:gd name="T28" fmla="*/ 523 w 796"/>
                <a:gd name="T29" fmla="*/ 359 h 496"/>
                <a:gd name="T30" fmla="*/ 490 w 796"/>
                <a:gd name="T31" fmla="*/ 353 h 496"/>
                <a:gd name="T32" fmla="*/ 483 w 796"/>
                <a:gd name="T33" fmla="*/ 320 h 496"/>
                <a:gd name="T34" fmla="*/ 511 w 796"/>
                <a:gd name="T35" fmla="*/ 301 h 496"/>
                <a:gd name="T36" fmla="*/ 757 w 796"/>
                <a:gd name="T37" fmla="*/ 39 h 496"/>
                <a:gd name="T38" fmla="*/ 764 w 796"/>
                <a:gd name="T39" fmla="*/ 72 h 496"/>
                <a:gd name="T40" fmla="*/ 736 w 796"/>
                <a:gd name="T41" fmla="*/ 90 h 496"/>
                <a:gd name="T42" fmla="*/ 708 w 796"/>
                <a:gd name="T43" fmla="*/ 72 h 496"/>
                <a:gd name="T44" fmla="*/ 716 w 796"/>
                <a:gd name="T45" fmla="*/ 39 h 496"/>
                <a:gd name="T46" fmla="*/ 60 w 796"/>
                <a:gd name="T47" fmla="*/ 496 h 496"/>
                <a:gd name="T48" fmla="*/ 93 w 796"/>
                <a:gd name="T49" fmla="*/ 487 h 496"/>
                <a:gd name="T50" fmla="*/ 115 w 796"/>
                <a:gd name="T51" fmla="*/ 460 h 496"/>
                <a:gd name="T52" fmla="*/ 118 w 796"/>
                <a:gd name="T53" fmla="*/ 422 h 496"/>
                <a:gd name="T54" fmla="*/ 276 w 796"/>
                <a:gd name="T55" fmla="*/ 300 h 496"/>
                <a:gd name="T56" fmla="*/ 318 w 796"/>
                <a:gd name="T57" fmla="*/ 291 h 496"/>
                <a:gd name="T58" fmla="*/ 451 w 796"/>
                <a:gd name="T59" fmla="*/ 331 h 496"/>
                <a:gd name="T60" fmla="*/ 461 w 796"/>
                <a:gd name="T61" fmla="*/ 365 h 496"/>
                <a:gd name="T62" fmla="*/ 487 w 796"/>
                <a:gd name="T63" fmla="*/ 387 h 496"/>
                <a:gd name="T64" fmla="*/ 523 w 796"/>
                <a:gd name="T65" fmla="*/ 390 h 496"/>
                <a:gd name="T66" fmla="*/ 554 w 796"/>
                <a:gd name="T67" fmla="*/ 373 h 496"/>
                <a:gd name="T68" fmla="*/ 570 w 796"/>
                <a:gd name="T69" fmla="*/ 343 h 496"/>
                <a:gd name="T70" fmla="*/ 559 w 796"/>
                <a:gd name="T71" fmla="*/ 296 h 496"/>
                <a:gd name="T72" fmla="*/ 742 w 796"/>
                <a:gd name="T73" fmla="*/ 120 h 496"/>
                <a:gd name="T74" fmla="*/ 775 w 796"/>
                <a:gd name="T75" fmla="*/ 106 h 496"/>
                <a:gd name="T76" fmla="*/ 794 w 796"/>
                <a:gd name="T77" fmla="*/ 79 h 496"/>
                <a:gd name="T78" fmla="*/ 794 w 796"/>
                <a:gd name="T79" fmla="*/ 43 h 496"/>
                <a:gd name="T80" fmla="*/ 775 w 796"/>
                <a:gd name="T81" fmla="*/ 14 h 496"/>
                <a:gd name="T82" fmla="*/ 742 w 796"/>
                <a:gd name="T83" fmla="*/ 0 h 496"/>
                <a:gd name="T84" fmla="*/ 708 w 796"/>
                <a:gd name="T85" fmla="*/ 8 h 496"/>
                <a:gd name="T86" fmla="*/ 683 w 796"/>
                <a:gd name="T87" fmla="*/ 31 h 496"/>
                <a:gd name="T88" fmla="*/ 677 w 796"/>
                <a:gd name="T89" fmla="*/ 70 h 496"/>
                <a:gd name="T90" fmla="*/ 524 w 796"/>
                <a:gd name="T91" fmla="*/ 272 h 496"/>
                <a:gd name="T92" fmla="*/ 483 w 796"/>
                <a:gd name="T93" fmla="*/ 278 h 496"/>
                <a:gd name="T94" fmla="*/ 345 w 796"/>
                <a:gd name="T95" fmla="*/ 245 h 496"/>
                <a:gd name="T96" fmla="*/ 339 w 796"/>
                <a:gd name="T97" fmla="*/ 212 h 496"/>
                <a:gd name="T98" fmla="*/ 314 w 796"/>
                <a:gd name="T99" fmla="*/ 188 h 496"/>
                <a:gd name="T100" fmla="*/ 280 w 796"/>
                <a:gd name="T101" fmla="*/ 181 h 496"/>
                <a:gd name="T102" fmla="*/ 247 w 796"/>
                <a:gd name="T103" fmla="*/ 194 h 496"/>
                <a:gd name="T104" fmla="*/ 228 w 796"/>
                <a:gd name="T105" fmla="*/ 223 h 496"/>
                <a:gd name="T106" fmla="*/ 229 w 796"/>
                <a:gd name="T107" fmla="*/ 262 h 496"/>
                <a:gd name="T108" fmla="*/ 60 w 796"/>
                <a:gd name="T109" fmla="*/ 376 h 496"/>
                <a:gd name="T110" fmla="*/ 26 w 796"/>
                <a:gd name="T111" fmla="*/ 387 h 496"/>
                <a:gd name="T112" fmla="*/ 4 w 796"/>
                <a:gd name="T113" fmla="*/ 413 h 496"/>
                <a:gd name="T114" fmla="*/ 1 w 796"/>
                <a:gd name="T115" fmla="*/ 448 h 496"/>
                <a:gd name="T116" fmla="*/ 17 w 796"/>
                <a:gd name="T117" fmla="*/ 479 h 496"/>
                <a:gd name="T118" fmla="*/ 47 w 796"/>
                <a:gd name="T119" fmla="*/ 49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6" h="496">
                  <a:moveTo>
                    <a:pt x="60" y="406"/>
                  </a:moveTo>
                  <a:lnTo>
                    <a:pt x="66" y="407"/>
                  </a:lnTo>
                  <a:lnTo>
                    <a:pt x="73" y="410"/>
                  </a:lnTo>
                  <a:lnTo>
                    <a:pt x="78" y="413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6" y="421"/>
                  </a:lnTo>
                  <a:lnTo>
                    <a:pt x="88" y="426"/>
                  </a:lnTo>
                  <a:lnTo>
                    <a:pt x="89" y="431"/>
                  </a:lnTo>
                  <a:lnTo>
                    <a:pt x="90" y="436"/>
                  </a:lnTo>
                  <a:lnTo>
                    <a:pt x="89" y="443"/>
                  </a:lnTo>
                  <a:lnTo>
                    <a:pt x="88" y="448"/>
                  </a:lnTo>
                  <a:lnTo>
                    <a:pt x="85" y="453"/>
                  </a:lnTo>
                  <a:lnTo>
                    <a:pt x="81" y="458"/>
                  </a:lnTo>
                  <a:lnTo>
                    <a:pt x="76" y="461"/>
                  </a:lnTo>
                  <a:lnTo>
                    <a:pt x="72" y="464"/>
                  </a:lnTo>
                  <a:lnTo>
                    <a:pt x="65" y="466"/>
                  </a:lnTo>
                  <a:lnTo>
                    <a:pt x="60" y="466"/>
                  </a:lnTo>
                  <a:lnTo>
                    <a:pt x="54" y="466"/>
                  </a:lnTo>
                  <a:lnTo>
                    <a:pt x="48" y="464"/>
                  </a:lnTo>
                  <a:lnTo>
                    <a:pt x="43" y="461"/>
                  </a:lnTo>
                  <a:lnTo>
                    <a:pt x="39" y="458"/>
                  </a:lnTo>
                  <a:lnTo>
                    <a:pt x="34" y="453"/>
                  </a:lnTo>
                  <a:lnTo>
                    <a:pt x="32" y="448"/>
                  </a:lnTo>
                  <a:lnTo>
                    <a:pt x="30" y="443"/>
                  </a:lnTo>
                  <a:lnTo>
                    <a:pt x="30" y="436"/>
                  </a:lnTo>
                  <a:lnTo>
                    <a:pt x="30" y="430"/>
                  </a:lnTo>
                  <a:lnTo>
                    <a:pt x="32" y="425"/>
                  </a:lnTo>
                  <a:lnTo>
                    <a:pt x="34" y="419"/>
                  </a:lnTo>
                  <a:lnTo>
                    <a:pt x="39" y="415"/>
                  </a:lnTo>
                  <a:lnTo>
                    <a:pt x="43" y="412"/>
                  </a:lnTo>
                  <a:lnTo>
                    <a:pt x="48" y="409"/>
                  </a:lnTo>
                  <a:lnTo>
                    <a:pt x="54" y="407"/>
                  </a:lnTo>
                  <a:lnTo>
                    <a:pt x="60" y="406"/>
                  </a:lnTo>
                  <a:lnTo>
                    <a:pt x="60" y="406"/>
                  </a:lnTo>
                  <a:close/>
                  <a:moveTo>
                    <a:pt x="285" y="211"/>
                  </a:moveTo>
                  <a:lnTo>
                    <a:pt x="291" y="211"/>
                  </a:lnTo>
                  <a:lnTo>
                    <a:pt x="297" y="214"/>
                  </a:lnTo>
                  <a:lnTo>
                    <a:pt x="302" y="216"/>
                  </a:lnTo>
                  <a:lnTo>
                    <a:pt x="306" y="220"/>
                  </a:lnTo>
                  <a:lnTo>
                    <a:pt x="311" y="224"/>
                  </a:lnTo>
                  <a:lnTo>
                    <a:pt x="313" y="230"/>
                  </a:lnTo>
                  <a:lnTo>
                    <a:pt x="315" y="235"/>
                  </a:lnTo>
                  <a:lnTo>
                    <a:pt x="315" y="241"/>
                  </a:lnTo>
                  <a:lnTo>
                    <a:pt x="315" y="247"/>
                  </a:lnTo>
                  <a:lnTo>
                    <a:pt x="313" y="253"/>
                  </a:lnTo>
                  <a:lnTo>
                    <a:pt x="311" y="257"/>
                  </a:lnTo>
                  <a:lnTo>
                    <a:pt x="306" y="262"/>
                  </a:lnTo>
                  <a:lnTo>
                    <a:pt x="302" y="266"/>
                  </a:lnTo>
                  <a:lnTo>
                    <a:pt x="297" y="268"/>
                  </a:lnTo>
                  <a:lnTo>
                    <a:pt x="291" y="270"/>
                  </a:lnTo>
                  <a:lnTo>
                    <a:pt x="285" y="271"/>
                  </a:lnTo>
                  <a:lnTo>
                    <a:pt x="280" y="270"/>
                  </a:lnTo>
                  <a:lnTo>
                    <a:pt x="273" y="268"/>
                  </a:lnTo>
                  <a:lnTo>
                    <a:pt x="269" y="266"/>
                  </a:lnTo>
                  <a:lnTo>
                    <a:pt x="264" y="262"/>
                  </a:lnTo>
                  <a:lnTo>
                    <a:pt x="260" y="257"/>
                  </a:lnTo>
                  <a:lnTo>
                    <a:pt x="257" y="253"/>
                  </a:lnTo>
                  <a:lnTo>
                    <a:pt x="256" y="247"/>
                  </a:lnTo>
                  <a:lnTo>
                    <a:pt x="255" y="241"/>
                  </a:lnTo>
                  <a:lnTo>
                    <a:pt x="256" y="235"/>
                  </a:lnTo>
                  <a:lnTo>
                    <a:pt x="257" y="230"/>
                  </a:lnTo>
                  <a:lnTo>
                    <a:pt x="260" y="224"/>
                  </a:lnTo>
                  <a:lnTo>
                    <a:pt x="264" y="220"/>
                  </a:lnTo>
                  <a:lnTo>
                    <a:pt x="269" y="216"/>
                  </a:lnTo>
                  <a:lnTo>
                    <a:pt x="273" y="214"/>
                  </a:lnTo>
                  <a:lnTo>
                    <a:pt x="280" y="211"/>
                  </a:lnTo>
                  <a:lnTo>
                    <a:pt x="285" y="211"/>
                  </a:lnTo>
                  <a:close/>
                  <a:moveTo>
                    <a:pt x="511" y="301"/>
                  </a:moveTo>
                  <a:lnTo>
                    <a:pt x="516" y="301"/>
                  </a:lnTo>
                  <a:lnTo>
                    <a:pt x="521" y="302"/>
                  </a:lnTo>
                  <a:lnTo>
                    <a:pt x="526" y="306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5" y="313"/>
                  </a:lnTo>
                  <a:lnTo>
                    <a:pt x="538" y="319"/>
                  </a:lnTo>
                  <a:lnTo>
                    <a:pt x="540" y="325"/>
                  </a:lnTo>
                  <a:lnTo>
                    <a:pt x="541" y="331"/>
                  </a:lnTo>
                  <a:lnTo>
                    <a:pt x="540" y="337"/>
                  </a:lnTo>
                  <a:lnTo>
                    <a:pt x="539" y="343"/>
                  </a:lnTo>
                  <a:lnTo>
                    <a:pt x="536" y="347"/>
                  </a:lnTo>
                  <a:lnTo>
                    <a:pt x="532" y="353"/>
                  </a:lnTo>
                  <a:lnTo>
                    <a:pt x="527" y="356"/>
                  </a:lnTo>
                  <a:lnTo>
                    <a:pt x="523" y="359"/>
                  </a:lnTo>
                  <a:lnTo>
                    <a:pt x="516" y="360"/>
                  </a:lnTo>
                  <a:lnTo>
                    <a:pt x="511" y="361"/>
                  </a:lnTo>
                  <a:lnTo>
                    <a:pt x="505" y="360"/>
                  </a:lnTo>
                  <a:lnTo>
                    <a:pt x="499" y="359"/>
                  </a:lnTo>
                  <a:lnTo>
                    <a:pt x="494" y="356"/>
                  </a:lnTo>
                  <a:lnTo>
                    <a:pt x="490" y="353"/>
                  </a:lnTo>
                  <a:lnTo>
                    <a:pt x="486" y="349"/>
                  </a:lnTo>
                  <a:lnTo>
                    <a:pt x="483" y="343"/>
                  </a:lnTo>
                  <a:lnTo>
                    <a:pt x="481" y="337"/>
                  </a:lnTo>
                  <a:lnTo>
                    <a:pt x="481" y="331"/>
                  </a:lnTo>
                  <a:lnTo>
                    <a:pt x="481" y="325"/>
                  </a:lnTo>
                  <a:lnTo>
                    <a:pt x="483" y="320"/>
                  </a:lnTo>
                  <a:lnTo>
                    <a:pt x="486" y="314"/>
                  </a:lnTo>
                  <a:lnTo>
                    <a:pt x="490" y="310"/>
                  </a:lnTo>
                  <a:lnTo>
                    <a:pt x="494" y="307"/>
                  </a:lnTo>
                  <a:lnTo>
                    <a:pt x="499" y="304"/>
                  </a:lnTo>
                  <a:lnTo>
                    <a:pt x="505" y="301"/>
                  </a:lnTo>
                  <a:lnTo>
                    <a:pt x="511" y="301"/>
                  </a:lnTo>
                  <a:lnTo>
                    <a:pt x="511" y="301"/>
                  </a:lnTo>
                  <a:close/>
                  <a:moveTo>
                    <a:pt x="736" y="30"/>
                  </a:moveTo>
                  <a:lnTo>
                    <a:pt x="742" y="31"/>
                  </a:lnTo>
                  <a:lnTo>
                    <a:pt x="748" y="33"/>
                  </a:lnTo>
                  <a:lnTo>
                    <a:pt x="753" y="36"/>
                  </a:lnTo>
                  <a:lnTo>
                    <a:pt x="757" y="39"/>
                  </a:lnTo>
                  <a:lnTo>
                    <a:pt x="762" y="43"/>
                  </a:lnTo>
                  <a:lnTo>
                    <a:pt x="764" y="49"/>
                  </a:lnTo>
                  <a:lnTo>
                    <a:pt x="766" y="55"/>
                  </a:lnTo>
                  <a:lnTo>
                    <a:pt x="766" y="60"/>
                  </a:lnTo>
                  <a:lnTo>
                    <a:pt x="766" y="67"/>
                  </a:lnTo>
                  <a:lnTo>
                    <a:pt x="764" y="72"/>
                  </a:lnTo>
                  <a:lnTo>
                    <a:pt x="762" y="78"/>
                  </a:lnTo>
                  <a:lnTo>
                    <a:pt x="757" y="82"/>
                  </a:lnTo>
                  <a:lnTo>
                    <a:pt x="753" y="85"/>
                  </a:lnTo>
                  <a:lnTo>
                    <a:pt x="748" y="88"/>
                  </a:lnTo>
                  <a:lnTo>
                    <a:pt x="742" y="90"/>
                  </a:lnTo>
                  <a:lnTo>
                    <a:pt x="736" y="90"/>
                  </a:lnTo>
                  <a:lnTo>
                    <a:pt x="731" y="90"/>
                  </a:lnTo>
                  <a:lnTo>
                    <a:pt x="724" y="88"/>
                  </a:lnTo>
                  <a:lnTo>
                    <a:pt x="720" y="85"/>
                  </a:lnTo>
                  <a:lnTo>
                    <a:pt x="716" y="82"/>
                  </a:lnTo>
                  <a:lnTo>
                    <a:pt x="711" y="78"/>
                  </a:lnTo>
                  <a:lnTo>
                    <a:pt x="708" y="72"/>
                  </a:lnTo>
                  <a:lnTo>
                    <a:pt x="707" y="67"/>
                  </a:lnTo>
                  <a:lnTo>
                    <a:pt x="706" y="60"/>
                  </a:lnTo>
                  <a:lnTo>
                    <a:pt x="707" y="55"/>
                  </a:lnTo>
                  <a:lnTo>
                    <a:pt x="708" y="49"/>
                  </a:lnTo>
                  <a:lnTo>
                    <a:pt x="711" y="43"/>
                  </a:lnTo>
                  <a:lnTo>
                    <a:pt x="716" y="39"/>
                  </a:lnTo>
                  <a:lnTo>
                    <a:pt x="720" y="36"/>
                  </a:lnTo>
                  <a:lnTo>
                    <a:pt x="724" y="33"/>
                  </a:lnTo>
                  <a:lnTo>
                    <a:pt x="731" y="31"/>
                  </a:lnTo>
                  <a:lnTo>
                    <a:pt x="736" y="30"/>
                  </a:lnTo>
                  <a:lnTo>
                    <a:pt x="736" y="30"/>
                  </a:lnTo>
                  <a:close/>
                  <a:moveTo>
                    <a:pt x="60" y="496"/>
                  </a:moveTo>
                  <a:lnTo>
                    <a:pt x="66" y="496"/>
                  </a:lnTo>
                  <a:lnTo>
                    <a:pt x="72" y="495"/>
                  </a:lnTo>
                  <a:lnTo>
                    <a:pt x="77" y="494"/>
                  </a:lnTo>
                  <a:lnTo>
                    <a:pt x="84" y="492"/>
                  </a:lnTo>
                  <a:lnTo>
                    <a:pt x="89" y="489"/>
                  </a:lnTo>
                  <a:lnTo>
                    <a:pt x="93" y="487"/>
                  </a:lnTo>
                  <a:lnTo>
                    <a:pt x="98" y="482"/>
                  </a:lnTo>
                  <a:lnTo>
                    <a:pt x="102" y="479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3" y="465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8"/>
                  </a:lnTo>
                  <a:lnTo>
                    <a:pt x="120" y="443"/>
                  </a:lnTo>
                  <a:lnTo>
                    <a:pt x="120" y="436"/>
                  </a:lnTo>
                  <a:lnTo>
                    <a:pt x="119" y="429"/>
                  </a:lnTo>
                  <a:lnTo>
                    <a:pt x="118" y="422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1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6" y="300"/>
                  </a:lnTo>
                  <a:lnTo>
                    <a:pt x="285" y="301"/>
                  </a:lnTo>
                  <a:lnTo>
                    <a:pt x="292" y="300"/>
                  </a:lnTo>
                  <a:lnTo>
                    <a:pt x="300" y="299"/>
                  </a:lnTo>
                  <a:lnTo>
                    <a:pt x="306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6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1"/>
                  </a:lnTo>
                  <a:lnTo>
                    <a:pt x="451" y="338"/>
                  </a:lnTo>
                  <a:lnTo>
                    <a:pt x="452" y="343"/>
                  </a:lnTo>
                  <a:lnTo>
                    <a:pt x="453" y="350"/>
                  </a:lnTo>
                  <a:lnTo>
                    <a:pt x="455" y="355"/>
                  </a:lnTo>
                  <a:lnTo>
                    <a:pt x="457" y="360"/>
                  </a:lnTo>
                  <a:lnTo>
                    <a:pt x="461" y="365"/>
                  </a:lnTo>
                  <a:lnTo>
                    <a:pt x="464" y="370"/>
                  </a:lnTo>
                  <a:lnTo>
                    <a:pt x="468" y="374"/>
                  </a:lnTo>
                  <a:lnTo>
                    <a:pt x="472" y="377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7" y="387"/>
                  </a:lnTo>
                  <a:lnTo>
                    <a:pt x="493" y="388"/>
                  </a:lnTo>
                  <a:lnTo>
                    <a:pt x="498" y="390"/>
                  </a:lnTo>
                  <a:lnTo>
                    <a:pt x="505" y="391"/>
                  </a:lnTo>
                  <a:lnTo>
                    <a:pt x="511" y="391"/>
                  </a:lnTo>
                  <a:lnTo>
                    <a:pt x="517" y="391"/>
                  </a:lnTo>
                  <a:lnTo>
                    <a:pt x="523" y="390"/>
                  </a:lnTo>
                  <a:lnTo>
                    <a:pt x="529" y="388"/>
                  </a:lnTo>
                  <a:lnTo>
                    <a:pt x="535" y="387"/>
                  </a:lnTo>
                  <a:lnTo>
                    <a:pt x="540" y="384"/>
                  </a:lnTo>
                  <a:lnTo>
                    <a:pt x="544" y="381"/>
                  </a:lnTo>
                  <a:lnTo>
                    <a:pt x="550" y="377"/>
                  </a:lnTo>
                  <a:lnTo>
                    <a:pt x="554" y="373"/>
                  </a:lnTo>
                  <a:lnTo>
                    <a:pt x="557" y="370"/>
                  </a:lnTo>
                  <a:lnTo>
                    <a:pt x="560" y="365"/>
                  </a:lnTo>
                  <a:lnTo>
                    <a:pt x="564" y="360"/>
                  </a:lnTo>
                  <a:lnTo>
                    <a:pt x="567" y="355"/>
                  </a:lnTo>
                  <a:lnTo>
                    <a:pt x="568" y="350"/>
                  </a:lnTo>
                  <a:lnTo>
                    <a:pt x="570" y="343"/>
                  </a:lnTo>
                  <a:lnTo>
                    <a:pt x="571" y="338"/>
                  </a:lnTo>
                  <a:lnTo>
                    <a:pt x="571" y="331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59" y="296"/>
                  </a:lnTo>
                  <a:lnTo>
                    <a:pt x="710" y="115"/>
                  </a:lnTo>
                  <a:lnTo>
                    <a:pt x="717" y="117"/>
                  </a:lnTo>
                  <a:lnTo>
                    <a:pt x="723" y="119"/>
                  </a:lnTo>
                  <a:lnTo>
                    <a:pt x="730" y="120"/>
                  </a:lnTo>
                  <a:lnTo>
                    <a:pt x="736" y="120"/>
                  </a:lnTo>
                  <a:lnTo>
                    <a:pt x="742" y="120"/>
                  </a:lnTo>
                  <a:lnTo>
                    <a:pt x="749" y="119"/>
                  </a:lnTo>
                  <a:lnTo>
                    <a:pt x="754" y="118"/>
                  </a:lnTo>
                  <a:lnTo>
                    <a:pt x="760" y="116"/>
                  </a:lnTo>
                  <a:lnTo>
                    <a:pt x="765" y="114"/>
                  </a:lnTo>
                  <a:lnTo>
                    <a:pt x="770" y="111"/>
                  </a:lnTo>
                  <a:lnTo>
                    <a:pt x="775" y="106"/>
                  </a:lnTo>
                  <a:lnTo>
                    <a:pt x="779" y="103"/>
                  </a:lnTo>
                  <a:lnTo>
                    <a:pt x="783" y="99"/>
                  </a:lnTo>
                  <a:lnTo>
                    <a:pt x="786" y="95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4" y="79"/>
                  </a:lnTo>
                  <a:lnTo>
                    <a:pt x="795" y="73"/>
                  </a:lnTo>
                  <a:lnTo>
                    <a:pt x="796" y="67"/>
                  </a:lnTo>
                  <a:lnTo>
                    <a:pt x="796" y="60"/>
                  </a:lnTo>
                  <a:lnTo>
                    <a:pt x="796" y="54"/>
                  </a:lnTo>
                  <a:lnTo>
                    <a:pt x="795" y="49"/>
                  </a:lnTo>
                  <a:lnTo>
                    <a:pt x="794" y="43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6" y="27"/>
                  </a:lnTo>
                  <a:lnTo>
                    <a:pt x="783" y="23"/>
                  </a:lnTo>
                  <a:lnTo>
                    <a:pt x="779" y="19"/>
                  </a:lnTo>
                  <a:lnTo>
                    <a:pt x="775" y="14"/>
                  </a:lnTo>
                  <a:lnTo>
                    <a:pt x="770" y="11"/>
                  </a:lnTo>
                  <a:lnTo>
                    <a:pt x="765" y="8"/>
                  </a:lnTo>
                  <a:lnTo>
                    <a:pt x="760" y="5"/>
                  </a:lnTo>
                  <a:lnTo>
                    <a:pt x="754" y="4"/>
                  </a:lnTo>
                  <a:lnTo>
                    <a:pt x="749" y="1"/>
                  </a:lnTo>
                  <a:lnTo>
                    <a:pt x="742" y="0"/>
                  </a:lnTo>
                  <a:lnTo>
                    <a:pt x="736" y="0"/>
                  </a:lnTo>
                  <a:lnTo>
                    <a:pt x="731" y="0"/>
                  </a:lnTo>
                  <a:lnTo>
                    <a:pt x="724" y="1"/>
                  </a:lnTo>
                  <a:lnTo>
                    <a:pt x="719" y="4"/>
                  </a:lnTo>
                  <a:lnTo>
                    <a:pt x="712" y="5"/>
                  </a:lnTo>
                  <a:lnTo>
                    <a:pt x="708" y="8"/>
                  </a:lnTo>
                  <a:lnTo>
                    <a:pt x="703" y="11"/>
                  </a:lnTo>
                  <a:lnTo>
                    <a:pt x="698" y="14"/>
                  </a:lnTo>
                  <a:lnTo>
                    <a:pt x="694" y="19"/>
                  </a:lnTo>
                  <a:lnTo>
                    <a:pt x="690" y="22"/>
                  </a:lnTo>
                  <a:lnTo>
                    <a:pt x="687" y="27"/>
                  </a:lnTo>
                  <a:lnTo>
                    <a:pt x="683" y="31"/>
                  </a:lnTo>
                  <a:lnTo>
                    <a:pt x="681" y="37"/>
                  </a:lnTo>
                  <a:lnTo>
                    <a:pt x="679" y="43"/>
                  </a:lnTo>
                  <a:lnTo>
                    <a:pt x="677" y="49"/>
                  </a:lnTo>
                  <a:lnTo>
                    <a:pt x="676" y="54"/>
                  </a:lnTo>
                  <a:lnTo>
                    <a:pt x="676" y="60"/>
                  </a:lnTo>
                  <a:lnTo>
                    <a:pt x="677" y="70"/>
                  </a:lnTo>
                  <a:lnTo>
                    <a:pt x="679" y="80"/>
                  </a:lnTo>
                  <a:lnTo>
                    <a:pt x="682" y="88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0" y="275"/>
                  </a:lnTo>
                  <a:lnTo>
                    <a:pt x="524" y="272"/>
                  </a:lnTo>
                  <a:lnTo>
                    <a:pt x="517" y="271"/>
                  </a:lnTo>
                  <a:lnTo>
                    <a:pt x="511" y="271"/>
                  </a:lnTo>
                  <a:lnTo>
                    <a:pt x="504" y="271"/>
                  </a:lnTo>
                  <a:lnTo>
                    <a:pt x="496" y="272"/>
                  </a:lnTo>
                  <a:lnTo>
                    <a:pt x="490" y="275"/>
                  </a:lnTo>
                  <a:lnTo>
                    <a:pt x="483" y="278"/>
                  </a:lnTo>
                  <a:lnTo>
                    <a:pt x="478" y="281"/>
                  </a:lnTo>
                  <a:lnTo>
                    <a:pt x="472" y="285"/>
                  </a:lnTo>
                  <a:lnTo>
                    <a:pt x="467" y="291"/>
                  </a:lnTo>
                  <a:lnTo>
                    <a:pt x="463" y="296"/>
                  </a:lnTo>
                  <a:lnTo>
                    <a:pt x="345" y="249"/>
                  </a:lnTo>
                  <a:lnTo>
                    <a:pt x="345" y="245"/>
                  </a:lnTo>
                  <a:lnTo>
                    <a:pt x="345" y="241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2"/>
                  </a:lnTo>
                  <a:lnTo>
                    <a:pt x="335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2"/>
                  </a:lnTo>
                  <a:lnTo>
                    <a:pt x="291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2"/>
                  </a:lnTo>
                  <a:lnTo>
                    <a:pt x="268" y="184"/>
                  </a:lnTo>
                  <a:lnTo>
                    <a:pt x="261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7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2" y="212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1"/>
                  </a:lnTo>
                  <a:lnTo>
                    <a:pt x="226" y="248"/>
                  </a:lnTo>
                  <a:lnTo>
                    <a:pt x="227" y="255"/>
                  </a:lnTo>
                  <a:lnTo>
                    <a:pt x="229" y="262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3"/>
                  </a:lnTo>
                  <a:lnTo>
                    <a:pt x="78" y="380"/>
                  </a:lnTo>
                  <a:lnTo>
                    <a:pt x="69" y="377"/>
                  </a:lnTo>
                  <a:lnTo>
                    <a:pt x="60" y="376"/>
                  </a:lnTo>
                  <a:lnTo>
                    <a:pt x="54" y="376"/>
                  </a:lnTo>
                  <a:lnTo>
                    <a:pt x="47" y="377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4"/>
                  </a:lnTo>
                  <a:lnTo>
                    <a:pt x="26" y="387"/>
                  </a:lnTo>
                  <a:lnTo>
                    <a:pt x="21" y="390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10" y="403"/>
                  </a:lnTo>
                  <a:lnTo>
                    <a:pt x="6" y="407"/>
                  </a:lnTo>
                  <a:lnTo>
                    <a:pt x="4" y="413"/>
                  </a:lnTo>
                  <a:lnTo>
                    <a:pt x="2" y="418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6"/>
                  </a:lnTo>
                  <a:lnTo>
                    <a:pt x="0" y="443"/>
                  </a:lnTo>
                  <a:lnTo>
                    <a:pt x="1" y="448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5"/>
                  </a:lnTo>
                  <a:lnTo>
                    <a:pt x="10" y="470"/>
                  </a:lnTo>
                  <a:lnTo>
                    <a:pt x="13" y="475"/>
                  </a:lnTo>
                  <a:lnTo>
                    <a:pt x="17" y="479"/>
                  </a:lnTo>
                  <a:lnTo>
                    <a:pt x="21" y="482"/>
                  </a:lnTo>
                  <a:lnTo>
                    <a:pt x="26" y="487"/>
                  </a:lnTo>
                  <a:lnTo>
                    <a:pt x="31" y="489"/>
                  </a:lnTo>
                  <a:lnTo>
                    <a:pt x="36" y="492"/>
                  </a:lnTo>
                  <a:lnTo>
                    <a:pt x="42" y="494"/>
                  </a:lnTo>
                  <a:lnTo>
                    <a:pt x="47" y="495"/>
                  </a:lnTo>
                  <a:lnTo>
                    <a:pt x="54" y="496"/>
                  </a:lnTo>
                  <a:lnTo>
                    <a:pt x="60" y="4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Freeform: Shape 27">
            <a:extLst>
              <a:ext uri="{FF2B5EF4-FFF2-40B4-BE49-F238E27FC236}">
                <a16:creationId xmlns="" xmlns:a16="http://schemas.microsoft.com/office/drawing/2014/main" id="{A74A3ED8-D4F4-4FF7-ACEA-E101C843E724}"/>
              </a:ext>
            </a:extLst>
          </p:cNvPr>
          <p:cNvSpPr/>
          <p:nvPr/>
        </p:nvSpPr>
        <p:spPr>
          <a:xfrm>
            <a:off x="3640251" y="46899"/>
            <a:ext cx="6347812" cy="839713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8571756" y="955625"/>
            <a:ext cx="3757994" cy="290848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hase </a:t>
            </a:r>
            <a:r>
              <a:rPr kumimoji="0" lang="en-US" b="1" i="0" u="sng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:</a:t>
            </a:r>
            <a:r>
              <a:rPr kumimoji="0" lang="en-US" b="1" i="0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noProof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éalisation des diagrammes UML</a:t>
            </a:r>
            <a:endParaRPr lang="en-US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agramme de </a:t>
            </a:r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’utilisation</a:t>
            </a:r>
            <a:endParaRPr lang="en-US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agramme </a:t>
            </a:r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’Activité</a:t>
            </a:r>
            <a:endParaRPr lang="en-US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agramme de </a:t>
            </a:r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équence</a:t>
            </a:r>
            <a:endParaRPr lang="en-US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agramme de </a:t>
            </a:r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lasse</a:t>
            </a:r>
            <a:endParaRPr lang="en-US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agramme de </a:t>
            </a:r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mposants</a:t>
            </a:r>
            <a:endParaRPr lang="en-US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A0D23C08-366D-48EB-841E-1D9E2EB96E26}"/>
              </a:ext>
            </a:extLst>
          </p:cNvPr>
          <p:cNvSpPr/>
          <p:nvPr/>
        </p:nvSpPr>
        <p:spPr>
          <a:xfrm>
            <a:off x="8594923" y="4001262"/>
            <a:ext cx="3397944" cy="124649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hase </a:t>
            </a:r>
            <a:r>
              <a:rPr lang="en-US" b="1" u="sng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 Réalisation du MCD</a:t>
            </a:r>
            <a:endParaRPr lang="en-US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réation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de la base de donnée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criture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des scripts SQL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FFFDFD9F-4BF5-4E20-845E-BB96F908FBF3}"/>
              </a:ext>
            </a:extLst>
          </p:cNvPr>
          <p:cNvSpPr/>
          <p:nvPr/>
        </p:nvSpPr>
        <p:spPr>
          <a:xfrm>
            <a:off x="7763561" y="5557258"/>
            <a:ext cx="3741416" cy="78483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kumimoji="0" lang="en-US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hase </a:t>
            </a:r>
            <a:r>
              <a:rPr lang="en-US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kumimoji="0" lang="en-US" sz="1600" b="1" i="0" u="sng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:</a:t>
            </a:r>
            <a:r>
              <a:rPr kumimoji="0" lang="en-US" sz="1600" b="1" i="0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 </a:t>
            </a:r>
            <a:r>
              <a:rPr lang="en-US" sz="1600" b="1" noProof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xplication des DP </a:t>
            </a:r>
          </a:p>
          <a:p>
            <a:pPr marL="285750" lvl="0" indent="-285750" algn="ctr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kumimoji="0" lang="en-US" sz="1600" b="1" i="0" strike="noStrike" kern="1200" cap="none" spc="0" normalizeH="0" baseline="0" dirty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P</a:t>
            </a:r>
            <a:r>
              <a:rPr kumimoji="0" lang="en-US" sz="1600" b="1" i="0" strike="noStrike" kern="1200" cap="none" spc="0" normalizeH="0" dirty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Factory</a:t>
            </a:r>
            <a:endParaRPr kumimoji="0" lang="en-US" sz="1600" b="1" i="0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D337FF33-99F4-419D-A2A2-DFD82D6ACFBD}"/>
              </a:ext>
            </a:extLst>
          </p:cNvPr>
          <p:cNvSpPr/>
          <p:nvPr/>
        </p:nvSpPr>
        <p:spPr>
          <a:xfrm>
            <a:off x="169163" y="4444044"/>
            <a:ext cx="4810663" cy="207749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kumimoji="0" lang="en-US" b="1" i="0" u="sng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hase</a:t>
            </a:r>
            <a:r>
              <a:rPr kumimoji="0" lang="en-US" b="1" i="0" u="sng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en-US" sz="1600" b="1" dirty="0" smtClean="0">
                <a:cs typeface="Arial" panose="020B0604020202020204" pitchFamily="34" charset="0"/>
              </a:rPr>
              <a:t>: </a:t>
            </a:r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éveloppemen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fr-FR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térialisation des différentes pièces du restaurant et des objets</a:t>
            </a:r>
          </a:p>
          <a:p>
            <a:pPr marL="285750" indent="-285750" algn="just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fr-FR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mplémentation des différents postes décrits</a:t>
            </a:r>
          </a:p>
          <a:p>
            <a:pPr marL="285750" indent="-285750" algn="just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fr-FR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mplémentation du matériel décrit en cuisine</a:t>
            </a:r>
            <a:endParaRPr lang="fr-FR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83D494E6-87A1-4970-B52A-9659889FF607}"/>
              </a:ext>
            </a:extLst>
          </p:cNvPr>
          <p:cNvSpPr/>
          <p:nvPr/>
        </p:nvSpPr>
        <p:spPr>
          <a:xfrm>
            <a:off x="24785" y="2779178"/>
            <a:ext cx="3496470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hase 5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  </a:t>
            </a:r>
            <a:endParaRPr lang="en-US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r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éalisation des Tests </a:t>
            </a:r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nitaires</a:t>
            </a:r>
            <a:endParaRPr lang="fr-FR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Nuage 35"/>
          <p:cNvSpPr/>
          <p:nvPr/>
        </p:nvSpPr>
        <p:spPr>
          <a:xfrm>
            <a:off x="10951030" y="6148200"/>
            <a:ext cx="697632" cy="492086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 smtClean="0">
                <a:solidFill>
                  <a:schemeClr val="tx2"/>
                </a:solidFill>
                <a:latin typeface="Gabriola" panose="04040605051002020D02" pitchFamily="82" charset="0"/>
              </a:rPr>
              <a:t>12</a:t>
            </a:r>
            <a:endParaRPr lang="fr-FR" sz="3200" b="1" dirty="0">
              <a:solidFill>
                <a:schemeClr val="tx2"/>
              </a:solidFill>
              <a:latin typeface="Gabriola" panose="04040605051002020D02" pitchFamily="82" charset="0"/>
            </a:endParaRPr>
          </a:p>
        </p:txBody>
      </p:sp>
      <p:sp>
        <p:nvSpPr>
          <p:cNvPr id="27" name="TextBox 134">
            <a:extLst>
              <a:ext uri="{FF2B5EF4-FFF2-40B4-BE49-F238E27FC236}">
                <a16:creationId xmlns="" xmlns:a16="http://schemas.microsoft.com/office/drawing/2014/main" id="{7C8D54A0-F533-42D8-8BE6-4367D7F44298}"/>
              </a:ext>
            </a:extLst>
          </p:cNvPr>
          <p:cNvSpPr txBox="1"/>
          <p:nvPr/>
        </p:nvSpPr>
        <p:spPr>
          <a:xfrm>
            <a:off x="3534772" y="239469"/>
            <a:ext cx="6547652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éalisation des specifications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  <a:p>
            <a:pPr algn="ctr">
              <a:buClr>
                <a:schemeClr val="accent2"/>
              </a:buClr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9886202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250"/>
                            </p:stCondLst>
                            <p:childTnLst>
                              <p:par>
                                <p:cTn id="41" presetID="42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250"/>
                            </p:stCondLst>
                            <p:childTnLst>
                              <p:par>
                                <p:cTn id="47" presetID="42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250"/>
                            </p:stCondLst>
                            <p:childTnLst>
                              <p:par>
                                <p:cTn id="53" presetID="42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60" grpId="0" animBg="1"/>
      <p:bldP spid="62" grpId="0" animBg="1"/>
      <p:bldP spid="63" grpId="0" animBg="1"/>
      <p:bldP spid="64" grpId="0" animBg="1"/>
      <p:bldP spid="31" grpId="0"/>
      <p:bldP spid="32" grpId="0"/>
      <p:bldP spid="33" grpId="0"/>
      <p:bldP spid="34" grpId="0"/>
      <p:bldP spid="3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="" xmlns:a16="http://schemas.microsoft.com/office/drawing/2014/main" id="{3E43A7E6-5608-4886-B02F-638489233242}"/>
              </a:ext>
            </a:extLst>
          </p:cNvPr>
          <p:cNvSpPr/>
          <p:nvPr/>
        </p:nvSpPr>
        <p:spPr>
          <a:xfrm>
            <a:off x="3640251" y="46899"/>
            <a:ext cx="6347812" cy="839713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2382981" y="897249"/>
            <a:ext cx="8325124" cy="708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 algn="ctr">
              <a:buFont typeface="Wingdings" panose="05000000000000000000" pitchFamily="2" charset="2"/>
              <a:buChar char="ü"/>
            </a:pPr>
            <a:r>
              <a:rPr lang="fr-FR" sz="3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fr-FR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ase </a:t>
            </a:r>
            <a:r>
              <a:rPr lang="fr-FR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fr-FR" sz="3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3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agramme de </a:t>
            </a:r>
            <a:r>
              <a:rPr lang="en-US" sz="30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s</a:t>
            </a:r>
            <a:r>
              <a:rPr lang="en-US" sz="3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0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’utilisation</a:t>
            </a:r>
            <a:endParaRPr lang="fr-FR" sz="3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4" name="Straight Connector 235">
            <a:extLst>
              <a:ext uri="{FF2B5EF4-FFF2-40B4-BE49-F238E27FC236}">
                <a16:creationId xmlns="" xmlns:a16="http://schemas.microsoft.com/office/drawing/2014/main" id="{7CAA804B-F70E-4EBD-A48C-EAD8A7C82985}"/>
              </a:ext>
            </a:extLst>
          </p:cNvPr>
          <p:cNvCxnSpPr/>
          <p:nvPr/>
        </p:nvCxnSpPr>
        <p:spPr>
          <a:xfrm>
            <a:off x="824248" y="1088321"/>
            <a:ext cx="176440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Nuage 8"/>
          <p:cNvSpPr/>
          <p:nvPr/>
        </p:nvSpPr>
        <p:spPr>
          <a:xfrm>
            <a:off x="10958148" y="6319889"/>
            <a:ext cx="907282" cy="478807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 smtClean="0">
                <a:solidFill>
                  <a:schemeClr val="tx2"/>
                </a:solidFill>
                <a:latin typeface="Gabriola" panose="04040605051002020D02" pitchFamily="82" charset="0"/>
              </a:rPr>
              <a:t>13</a:t>
            </a:r>
            <a:endParaRPr lang="fr-FR" sz="3200" b="1" dirty="0">
              <a:solidFill>
                <a:schemeClr val="tx2"/>
              </a:solidFill>
              <a:latin typeface="Gabriola" panose="04040605051002020D02" pitchFamily="82" charset="0"/>
            </a:endParaRPr>
          </a:p>
        </p:txBody>
      </p:sp>
      <p:sp>
        <p:nvSpPr>
          <p:cNvPr id="11" name="TextBox 134">
            <a:extLst>
              <a:ext uri="{FF2B5EF4-FFF2-40B4-BE49-F238E27FC236}">
                <a16:creationId xmlns="" xmlns:a16="http://schemas.microsoft.com/office/drawing/2014/main" id="{7C8D54A0-F533-42D8-8BE6-4367D7F44298}"/>
              </a:ext>
            </a:extLst>
          </p:cNvPr>
          <p:cNvSpPr txBox="1"/>
          <p:nvPr/>
        </p:nvSpPr>
        <p:spPr>
          <a:xfrm>
            <a:off x="3534772" y="239469"/>
            <a:ext cx="6547652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éalisation des specifications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  <a:p>
            <a:pPr algn="ctr">
              <a:buClr>
                <a:schemeClr val="accent2"/>
              </a:buClr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9">
            <a:extLst>
              <a:ext uri="{FF2B5EF4-FFF2-40B4-BE49-F238E27FC236}">
                <a16:creationId xmlns="" xmlns:a16="http://schemas.microsoft.com/office/drawing/2014/main" id="{6A18878A-FACF-496E-A937-8B120674250D}"/>
              </a:ext>
            </a:extLst>
          </p:cNvPr>
          <p:cNvSpPr txBox="1"/>
          <p:nvPr/>
        </p:nvSpPr>
        <p:spPr>
          <a:xfrm>
            <a:off x="-149547" y="682902"/>
            <a:ext cx="378979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b="1" dirty="0" err="1" smtClean="0">
                <a:solidFill>
                  <a:srgbClr val="D63A31"/>
                </a:solidFill>
                <a:latin typeface="+mj-lt"/>
              </a:rPr>
              <a:t>Liv</a:t>
            </a:r>
            <a:r>
              <a:rPr lang="en-US" sz="2800" b="1" dirty="0" err="1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rables</a:t>
            </a:r>
            <a:endParaRPr lang="fr-CM" sz="2800" b="1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5" name="AutoShape 2" descr="Use Case Diagram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028" name="Picture 4" descr="Use Case Diagram1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8" t="1" r="4142" b="59517"/>
          <a:stretch/>
        </p:blipFill>
        <p:spPr bwMode="auto">
          <a:xfrm>
            <a:off x="0" y="1557222"/>
            <a:ext cx="11240306" cy="5228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487693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="" xmlns:a16="http://schemas.microsoft.com/office/drawing/2014/main" id="{3E43A7E6-5608-4886-B02F-638489233242}"/>
              </a:ext>
            </a:extLst>
          </p:cNvPr>
          <p:cNvSpPr/>
          <p:nvPr/>
        </p:nvSpPr>
        <p:spPr>
          <a:xfrm>
            <a:off x="3640251" y="46899"/>
            <a:ext cx="6347812" cy="839713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2382981" y="1088321"/>
            <a:ext cx="8325124" cy="708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 algn="ctr">
              <a:buFont typeface="Wingdings" panose="05000000000000000000" pitchFamily="2" charset="2"/>
              <a:buChar char="ü"/>
            </a:pPr>
            <a:r>
              <a:rPr lang="fr-FR" sz="3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fr-FR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ase </a:t>
            </a:r>
            <a:r>
              <a:rPr lang="fr-FR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fr-FR" sz="3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3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agramme </a:t>
            </a:r>
            <a:r>
              <a:rPr lang="en-US" sz="30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’activité</a:t>
            </a:r>
            <a:endParaRPr lang="fr-FR" sz="3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4" name="Straight Connector 235">
            <a:extLst>
              <a:ext uri="{FF2B5EF4-FFF2-40B4-BE49-F238E27FC236}">
                <a16:creationId xmlns="" xmlns:a16="http://schemas.microsoft.com/office/drawing/2014/main" id="{7CAA804B-F70E-4EBD-A48C-EAD8A7C82985}"/>
              </a:ext>
            </a:extLst>
          </p:cNvPr>
          <p:cNvCxnSpPr/>
          <p:nvPr/>
        </p:nvCxnSpPr>
        <p:spPr>
          <a:xfrm>
            <a:off x="824248" y="1088321"/>
            <a:ext cx="176440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Nuage 8"/>
          <p:cNvSpPr/>
          <p:nvPr/>
        </p:nvSpPr>
        <p:spPr>
          <a:xfrm>
            <a:off x="10958148" y="6319889"/>
            <a:ext cx="907282" cy="478807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 smtClean="0">
                <a:solidFill>
                  <a:schemeClr val="tx2"/>
                </a:solidFill>
                <a:latin typeface="Gabriola" panose="04040605051002020D02" pitchFamily="82" charset="0"/>
              </a:rPr>
              <a:t>14</a:t>
            </a:r>
            <a:endParaRPr lang="fr-FR" sz="3200" b="1" dirty="0">
              <a:solidFill>
                <a:schemeClr val="tx2"/>
              </a:solidFill>
              <a:latin typeface="Gabriola" panose="04040605051002020D02" pitchFamily="8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451634" y="4121207"/>
            <a:ext cx="3960155" cy="6139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000" u="sng" dirty="0" smtClean="0">
                <a:solidFill>
                  <a:schemeClr val="tx1"/>
                </a:solidFill>
                <a:latin typeface="Baskerville Old Face" panose="02020602080505020303" pitchFamily="18" charset="0"/>
                <a:cs typeface="Times New Roman" panose="02020603050405020304" pitchFamily="18" charset="0"/>
              </a:rPr>
              <a:t>Maître d’hôtel</a:t>
            </a:r>
            <a:endParaRPr lang="en-US" sz="3000" b="1" dirty="0">
              <a:solidFill>
                <a:schemeClr val="tx1"/>
              </a:solidFill>
              <a:latin typeface="Baskerville Old Face" panose="02020602080505020303" pitchFamily="18" charset="0"/>
              <a:cs typeface="Times New Roman" panose="02020603050405020304" pitchFamily="18" charset="0"/>
            </a:endParaRPr>
          </a:p>
          <a:p>
            <a:pPr algn="ctr"/>
            <a:r>
              <a:rPr lang="fr-FR" sz="2000" u="sng" dirty="0" smtClean="0">
                <a:solidFill>
                  <a:schemeClr val="tx1"/>
                </a:solidFill>
                <a:latin typeface="Baskerville Old Face" panose="02020602080505020303" pitchFamily="18" charset="0"/>
                <a:cs typeface="Times New Roman" panose="02020603050405020304" pitchFamily="18" charset="0"/>
              </a:rPr>
              <a:t> </a:t>
            </a:r>
            <a:endParaRPr lang="fr-FR" sz="2000" u="sng" dirty="0">
              <a:solidFill>
                <a:schemeClr val="tx1"/>
              </a:solidFill>
              <a:latin typeface="Baskerville Old Face" panose="020206020805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34">
            <a:extLst>
              <a:ext uri="{FF2B5EF4-FFF2-40B4-BE49-F238E27FC236}">
                <a16:creationId xmlns="" xmlns:a16="http://schemas.microsoft.com/office/drawing/2014/main" id="{7C8D54A0-F533-42D8-8BE6-4367D7F44298}"/>
              </a:ext>
            </a:extLst>
          </p:cNvPr>
          <p:cNvSpPr txBox="1"/>
          <p:nvPr/>
        </p:nvSpPr>
        <p:spPr>
          <a:xfrm>
            <a:off x="3534772" y="239469"/>
            <a:ext cx="6547652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éalisation des specifications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  <a:p>
            <a:pPr algn="ctr">
              <a:buClr>
                <a:schemeClr val="accent2"/>
              </a:buClr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9">
            <a:extLst>
              <a:ext uri="{FF2B5EF4-FFF2-40B4-BE49-F238E27FC236}">
                <a16:creationId xmlns="" xmlns:a16="http://schemas.microsoft.com/office/drawing/2014/main" id="{6A18878A-FACF-496E-A937-8B120674250D}"/>
              </a:ext>
            </a:extLst>
          </p:cNvPr>
          <p:cNvSpPr txBox="1"/>
          <p:nvPr/>
        </p:nvSpPr>
        <p:spPr>
          <a:xfrm>
            <a:off x="-149547" y="682902"/>
            <a:ext cx="378979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b="1" dirty="0" err="1" smtClean="0">
                <a:solidFill>
                  <a:srgbClr val="D63A31"/>
                </a:solidFill>
                <a:latin typeface="+mj-lt"/>
              </a:rPr>
              <a:t>Liv</a:t>
            </a:r>
            <a:r>
              <a:rPr lang="en-US" sz="2800" b="1" dirty="0" err="1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rables</a:t>
            </a:r>
            <a:endParaRPr lang="fr-CM" sz="2800" b="1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pic>
        <p:nvPicPr>
          <p:cNvPr id="2050" name="Picture 2" descr="Maitre Hotel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963" y="1998368"/>
            <a:ext cx="6152815" cy="4859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814059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="" xmlns:a16="http://schemas.microsoft.com/office/drawing/2014/main" id="{3E43A7E6-5608-4886-B02F-638489233242}"/>
              </a:ext>
            </a:extLst>
          </p:cNvPr>
          <p:cNvSpPr/>
          <p:nvPr/>
        </p:nvSpPr>
        <p:spPr>
          <a:xfrm>
            <a:off x="3640251" y="46899"/>
            <a:ext cx="6347812" cy="839713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2382981" y="951841"/>
            <a:ext cx="8325124" cy="708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 algn="ctr">
              <a:buFont typeface="Wingdings" panose="05000000000000000000" pitchFamily="2" charset="2"/>
              <a:buChar char="ü"/>
            </a:pPr>
            <a:r>
              <a:rPr lang="fr-FR" sz="3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fr-FR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ase </a:t>
            </a:r>
            <a:r>
              <a:rPr lang="fr-FR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fr-FR" sz="3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3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agramme de </a:t>
            </a:r>
            <a:r>
              <a:rPr lang="en-US" sz="30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équence</a:t>
            </a:r>
            <a:endParaRPr lang="fr-FR" sz="3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4" name="Straight Connector 235">
            <a:extLst>
              <a:ext uri="{FF2B5EF4-FFF2-40B4-BE49-F238E27FC236}">
                <a16:creationId xmlns="" xmlns:a16="http://schemas.microsoft.com/office/drawing/2014/main" id="{7CAA804B-F70E-4EBD-A48C-EAD8A7C82985}"/>
              </a:ext>
            </a:extLst>
          </p:cNvPr>
          <p:cNvCxnSpPr/>
          <p:nvPr/>
        </p:nvCxnSpPr>
        <p:spPr>
          <a:xfrm>
            <a:off x="824248" y="1088321"/>
            <a:ext cx="176440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Nuage 8"/>
          <p:cNvSpPr/>
          <p:nvPr/>
        </p:nvSpPr>
        <p:spPr>
          <a:xfrm>
            <a:off x="10958148" y="6319889"/>
            <a:ext cx="907282" cy="478807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 smtClean="0">
                <a:solidFill>
                  <a:schemeClr val="tx2"/>
                </a:solidFill>
                <a:latin typeface="Gabriola" panose="04040605051002020D02" pitchFamily="82" charset="0"/>
              </a:rPr>
              <a:t>15</a:t>
            </a:r>
            <a:endParaRPr lang="fr-FR" sz="3200" b="1" dirty="0">
              <a:solidFill>
                <a:schemeClr val="tx2"/>
              </a:solidFill>
              <a:latin typeface="Gabriola" panose="04040605051002020D02" pitchFamily="82" charset="0"/>
            </a:endParaRPr>
          </a:p>
        </p:txBody>
      </p:sp>
      <p:sp>
        <p:nvSpPr>
          <p:cNvPr id="11" name="TextBox 134">
            <a:extLst>
              <a:ext uri="{FF2B5EF4-FFF2-40B4-BE49-F238E27FC236}">
                <a16:creationId xmlns="" xmlns:a16="http://schemas.microsoft.com/office/drawing/2014/main" id="{7C8D54A0-F533-42D8-8BE6-4367D7F44298}"/>
              </a:ext>
            </a:extLst>
          </p:cNvPr>
          <p:cNvSpPr txBox="1"/>
          <p:nvPr/>
        </p:nvSpPr>
        <p:spPr>
          <a:xfrm>
            <a:off x="3534772" y="239469"/>
            <a:ext cx="6547652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éalisation des specifications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  <a:p>
            <a:pPr algn="ctr">
              <a:buClr>
                <a:schemeClr val="accent2"/>
              </a:buClr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9">
            <a:extLst>
              <a:ext uri="{FF2B5EF4-FFF2-40B4-BE49-F238E27FC236}">
                <a16:creationId xmlns="" xmlns:a16="http://schemas.microsoft.com/office/drawing/2014/main" id="{6A18878A-FACF-496E-A937-8B120674250D}"/>
              </a:ext>
            </a:extLst>
          </p:cNvPr>
          <p:cNvSpPr txBox="1"/>
          <p:nvPr/>
        </p:nvSpPr>
        <p:spPr>
          <a:xfrm>
            <a:off x="-149547" y="682902"/>
            <a:ext cx="378979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b="1" dirty="0" err="1" smtClean="0">
                <a:solidFill>
                  <a:srgbClr val="D63A31"/>
                </a:solidFill>
                <a:latin typeface="+mj-lt"/>
              </a:rPr>
              <a:t>Liv</a:t>
            </a:r>
            <a:r>
              <a:rPr lang="en-US" sz="2800" b="1" dirty="0" err="1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rables</a:t>
            </a:r>
            <a:endParaRPr lang="fr-CM" sz="2800" b="1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pic>
        <p:nvPicPr>
          <p:cNvPr id="3074" name="Picture 2" descr="Sequence Diagram System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048"/>
          <a:stretch/>
        </p:blipFill>
        <p:spPr bwMode="auto">
          <a:xfrm>
            <a:off x="276347" y="1557222"/>
            <a:ext cx="10612047" cy="5246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075598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="" xmlns:a16="http://schemas.microsoft.com/office/drawing/2014/main" id="{3E43A7E6-5608-4886-B02F-638489233242}"/>
              </a:ext>
            </a:extLst>
          </p:cNvPr>
          <p:cNvSpPr/>
          <p:nvPr/>
        </p:nvSpPr>
        <p:spPr>
          <a:xfrm>
            <a:off x="3640251" y="46899"/>
            <a:ext cx="6347812" cy="839713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2382981" y="1088321"/>
            <a:ext cx="8325124" cy="708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 algn="ctr">
              <a:buFont typeface="Wingdings" panose="05000000000000000000" pitchFamily="2" charset="2"/>
              <a:buChar char="ü"/>
            </a:pPr>
            <a:r>
              <a:rPr lang="fr-FR" sz="3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fr-FR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ase </a:t>
            </a:r>
            <a:r>
              <a:rPr lang="fr-FR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fr-FR" sz="3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3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agramme de </a:t>
            </a:r>
            <a:r>
              <a:rPr lang="en-US" sz="30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asse</a:t>
            </a:r>
            <a:endParaRPr lang="fr-FR" sz="3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4" name="Straight Connector 235">
            <a:extLst>
              <a:ext uri="{FF2B5EF4-FFF2-40B4-BE49-F238E27FC236}">
                <a16:creationId xmlns="" xmlns:a16="http://schemas.microsoft.com/office/drawing/2014/main" id="{7CAA804B-F70E-4EBD-A48C-EAD8A7C82985}"/>
              </a:ext>
            </a:extLst>
          </p:cNvPr>
          <p:cNvCxnSpPr/>
          <p:nvPr/>
        </p:nvCxnSpPr>
        <p:spPr>
          <a:xfrm>
            <a:off x="824248" y="1088321"/>
            <a:ext cx="176440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Nuage 8"/>
          <p:cNvSpPr/>
          <p:nvPr/>
        </p:nvSpPr>
        <p:spPr>
          <a:xfrm>
            <a:off x="10958148" y="6319889"/>
            <a:ext cx="907282" cy="478807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 smtClean="0">
                <a:solidFill>
                  <a:schemeClr val="tx2"/>
                </a:solidFill>
                <a:latin typeface="Gabriola" panose="04040605051002020D02" pitchFamily="82" charset="0"/>
              </a:rPr>
              <a:t>16</a:t>
            </a:r>
            <a:endParaRPr lang="fr-FR" sz="3200" b="1" dirty="0">
              <a:solidFill>
                <a:schemeClr val="tx2"/>
              </a:solidFill>
              <a:latin typeface="Gabriola" panose="04040605051002020D02" pitchFamily="82" charset="0"/>
            </a:endParaRPr>
          </a:p>
        </p:txBody>
      </p:sp>
      <p:sp>
        <p:nvSpPr>
          <p:cNvPr id="11" name="TextBox 134">
            <a:extLst>
              <a:ext uri="{FF2B5EF4-FFF2-40B4-BE49-F238E27FC236}">
                <a16:creationId xmlns="" xmlns:a16="http://schemas.microsoft.com/office/drawing/2014/main" id="{7C8D54A0-F533-42D8-8BE6-4367D7F44298}"/>
              </a:ext>
            </a:extLst>
          </p:cNvPr>
          <p:cNvSpPr txBox="1"/>
          <p:nvPr/>
        </p:nvSpPr>
        <p:spPr>
          <a:xfrm>
            <a:off x="3534772" y="239469"/>
            <a:ext cx="6547652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éalisation des specifications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  <a:p>
            <a:pPr algn="ctr">
              <a:buClr>
                <a:schemeClr val="accent2"/>
              </a:buClr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9">
            <a:extLst>
              <a:ext uri="{FF2B5EF4-FFF2-40B4-BE49-F238E27FC236}">
                <a16:creationId xmlns="" xmlns:a16="http://schemas.microsoft.com/office/drawing/2014/main" id="{6A18878A-FACF-496E-A937-8B120674250D}"/>
              </a:ext>
            </a:extLst>
          </p:cNvPr>
          <p:cNvSpPr txBox="1"/>
          <p:nvPr/>
        </p:nvSpPr>
        <p:spPr>
          <a:xfrm>
            <a:off x="-149547" y="682902"/>
            <a:ext cx="378979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b="1" dirty="0" err="1" smtClean="0">
                <a:solidFill>
                  <a:srgbClr val="D63A31"/>
                </a:solidFill>
                <a:latin typeface="+mj-lt"/>
              </a:rPr>
              <a:t>Liv</a:t>
            </a:r>
            <a:r>
              <a:rPr lang="en-US" sz="2800" b="1" dirty="0" err="1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rables</a:t>
            </a:r>
            <a:endParaRPr lang="fr-CM" sz="2800" b="1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pic>
        <p:nvPicPr>
          <p:cNvPr id="4098" name="Picture 2" descr="Diagramme_Classes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35" t="553" r="6037" b="20434"/>
          <a:stretch/>
        </p:blipFill>
        <p:spPr bwMode="auto">
          <a:xfrm>
            <a:off x="155953" y="46899"/>
            <a:ext cx="11709477" cy="6625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820120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="" xmlns:a16="http://schemas.microsoft.com/office/drawing/2014/main" id="{3E43A7E6-5608-4886-B02F-638489233242}"/>
              </a:ext>
            </a:extLst>
          </p:cNvPr>
          <p:cNvSpPr/>
          <p:nvPr/>
        </p:nvSpPr>
        <p:spPr>
          <a:xfrm>
            <a:off x="3640251" y="46899"/>
            <a:ext cx="6347812" cy="839713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6A18878A-FACF-496E-A937-8B120674250D}"/>
              </a:ext>
            </a:extLst>
          </p:cNvPr>
          <p:cNvSpPr txBox="1"/>
          <p:nvPr/>
        </p:nvSpPr>
        <p:spPr>
          <a:xfrm>
            <a:off x="-149547" y="682902"/>
            <a:ext cx="378979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b="1" dirty="0" err="1" smtClean="0">
                <a:solidFill>
                  <a:srgbClr val="D63A31"/>
                </a:solidFill>
                <a:latin typeface="+mj-lt"/>
              </a:rPr>
              <a:t>Liv</a:t>
            </a:r>
            <a:r>
              <a:rPr lang="en-US" sz="2800" b="1" dirty="0" err="1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rables</a:t>
            </a:r>
            <a:endParaRPr lang="fr-CM" sz="2800" b="1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382981" y="1088321"/>
            <a:ext cx="8325124" cy="708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 algn="ctr">
              <a:buFont typeface="Wingdings" panose="05000000000000000000" pitchFamily="2" charset="2"/>
              <a:buChar char="ü"/>
            </a:pPr>
            <a:r>
              <a:rPr lang="fr-FR" sz="3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fr-FR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ase </a:t>
            </a:r>
            <a:r>
              <a:rPr lang="fr-FR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fr-FR" sz="3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3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agramme de </a:t>
            </a:r>
            <a:r>
              <a:rPr lang="en-US" sz="30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sant</a:t>
            </a:r>
            <a:endParaRPr lang="fr-FR" sz="3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4" name="Straight Connector 235">
            <a:extLst>
              <a:ext uri="{FF2B5EF4-FFF2-40B4-BE49-F238E27FC236}">
                <a16:creationId xmlns="" xmlns:a16="http://schemas.microsoft.com/office/drawing/2014/main" id="{7CAA804B-F70E-4EBD-A48C-EAD8A7C82985}"/>
              </a:ext>
            </a:extLst>
          </p:cNvPr>
          <p:cNvCxnSpPr/>
          <p:nvPr/>
        </p:nvCxnSpPr>
        <p:spPr>
          <a:xfrm>
            <a:off x="824248" y="1088321"/>
            <a:ext cx="176440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Nuage 8"/>
          <p:cNvSpPr/>
          <p:nvPr/>
        </p:nvSpPr>
        <p:spPr>
          <a:xfrm>
            <a:off x="10958148" y="6319889"/>
            <a:ext cx="907282" cy="478807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 smtClean="0">
                <a:solidFill>
                  <a:schemeClr val="tx2"/>
                </a:solidFill>
                <a:latin typeface="Gabriola" panose="04040605051002020D02" pitchFamily="82" charset="0"/>
              </a:rPr>
              <a:t>17</a:t>
            </a:r>
            <a:endParaRPr lang="fr-FR" sz="3200" b="1" dirty="0">
              <a:solidFill>
                <a:schemeClr val="tx2"/>
              </a:solidFill>
              <a:latin typeface="Gabriola" panose="04040605051002020D02" pitchFamily="82" charset="0"/>
            </a:endParaRPr>
          </a:p>
        </p:txBody>
      </p:sp>
      <p:sp>
        <p:nvSpPr>
          <p:cNvPr id="11" name="TextBox 134">
            <a:extLst>
              <a:ext uri="{FF2B5EF4-FFF2-40B4-BE49-F238E27FC236}">
                <a16:creationId xmlns="" xmlns:a16="http://schemas.microsoft.com/office/drawing/2014/main" id="{7C8D54A0-F533-42D8-8BE6-4367D7F44298}"/>
              </a:ext>
            </a:extLst>
          </p:cNvPr>
          <p:cNvSpPr txBox="1"/>
          <p:nvPr/>
        </p:nvSpPr>
        <p:spPr>
          <a:xfrm>
            <a:off x="3534772" y="239469"/>
            <a:ext cx="6547652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éalisation des specifications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  <a:p>
            <a:pPr algn="ctr">
              <a:buClr>
                <a:schemeClr val="accent2"/>
              </a:buClr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5122" name="Picture 2" descr="Component diagram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9677" y="1796659"/>
            <a:ext cx="6999203" cy="4954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31176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="" xmlns:a16="http://schemas.microsoft.com/office/drawing/2014/main" id="{3E43A7E6-5608-4886-B02F-638489233242}"/>
              </a:ext>
            </a:extLst>
          </p:cNvPr>
          <p:cNvSpPr/>
          <p:nvPr/>
        </p:nvSpPr>
        <p:spPr>
          <a:xfrm>
            <a:off x="3640251" y="46899"/>
            <a:ext cx="6347812" cy="839713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2588654" y="785403"/>
            <a:ext cx="7399409" cy="708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 algn="ctr">
              <a:buFont typeface="Wingdings" panose="05000000000000000000" pitchFamily="2" charset="2"/>
              <a:buChar char="ü"/>
            </a:pPr>
            <a:r>
              <a:rPr lang="fr-FR" sz="3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fr-FR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ase </a:t>
            </a:r>
            <a:r>
              <a:rPr lang="fr-FR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fr-FR" sz="3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3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éalisation du MCD</a:t>
            </a:r>
            <a:endParaRPr lang="fr-FR" sz="3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9">
            <a:extLst>
              <a:ext uri="{FF2B5EF4-FFF2-40B4-BE49-F238E27FC236}">
                <a16:creationId xmlns="" xmlns:a16="http://schemas.microsoft.com/office/drawing/2014/main" id="{6A18878A-FACF-496E-A937-8B120674250D}"/>
              </a:ext>
            </a:extLst>
          </p:cNvPr>
          <p:cNvSpPr txBox="1"/>
          <p:nvPr/>
        </p:nvSpPr>
        <p:spPr>
          <a:xfrm>
            <a:off x="-149547" y="682902"/>
            <a:ext cx="378979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b="1" dirty="0" err="1" smtClean="0">
                <a:solidFill>
                  <a:srgbClr val="D63A31"/>
                </a:solidFill>
                <a:latin typeface="+mj-lt"/>
              </a:rPr>
              <a:t>Liv</a:t>
            </a:r>
            <a:r>
              <a:rPr lang="en-US" sz="2800" b="1" dirty="0" err="1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rables</a:t>
            </a:r>
            <a:endParaRPr lang="fr-CM" sz="2800" b="1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cxnSp>
        <p:nvCxnSpPr>
          <p:cNvPr id="17" name="Straight Connector 235">
            <a:extLst>
              <a:ext uri="{FF2B5EF4-FFF2-40B4-BE49-F238E27FC236}">
                <a16:creationId xmlns="" xmlns:a16="http://schemas.microsoft.com/office/drawing/2014/main" id="{7CAA804B-F70E-4EBD-A48C-EAD8A7C82985}"/>
              </a:ext>
            </a:extLst>
          </p:cNvPr>
          <p:cNvCxnSpPr/>
          <p:nvPr/>
        </p:nvCxnSpPr>
        <p:spPr>
          <a:xfrm>
            <a:off x="824248" y="1088321"/>
            <a:ext cx="176440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Nuage 13"/>
          <p:cNvSpPr/>
          <p:nvPr/>
        </p:nvSpPr>
        <p:spPr>
          <a:xfrm>
            <a:off x="10951030" y="6148200"/>
            <a:ext cx="697632" cy="492086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 smtClean="0">
                <a:solidFill>
                  <a:schemeClr val="tx2"/>
                </a:solidFill>
                <a:latin typeface="Gabriola" panose="04040605051002020D02" pitchFamily="82" charset="0"/>
              </a:rPr>
              <a:t>18</a:t>
            </a:r>
            <a:endParaRPr lang="fr-FR" sz="3200" b="1" dirty="0">
              <a:solidFill>
                <a:schemeClr val="tx2"/>
              </a:solidFill>
              <a:latin typeface="Gabriola" panose="04040605051002020D02" pitchFamily="82" charset="0"/>
            </a:endParaRPr>
          </a:p>
        </p:txBody>
      </p:sp>
      <p:sp>
        <p:nvSpPr>
          <p:cNvPr id="10" name="TextBox 134">
            <a:extLst>
              <a:ext uri="{FF2B5EF4-FFF2-40B4-BE49-F238E27FC236}">
                <a16:creationId xmlns="" xmlns:a16="http://schemas.microsoft.com/office/drawing/2014/main" id="{7C8D54A0-F533-42D8-8BE6-4367D7F44298}"/>
              </a:ext>
            </a:extLst>
          </p:cNvPr>
          <p:cNvSpPr txBox="1"/>
          <p:nvPr/>
        </p:nvSpPr>
        <p:spPr>
          <a:xfrm>
            <a:off x="3534772" y="239469"/>
            <a:ext cx="6547652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éalisation des specifications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  <a:p>
            <a:pPr algn="ctr">
              <a:buClr>
                <a:schemeClr val="accent2"/>
              </a:buClr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6146" name="Picture 2" descr="MC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223" y="1432546"/>
            <a:ext cx="9508840" cy="5353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176903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="" xmlns:a16="http://schemas.microsoft.com/office/drawing/2014/main" id="{3E43A7E6-5608-4886-B02F-638489233242}"/>
              </a:ext>
            </a:extLst>
          </p:cNvPr>
          <p:cNvSpPr/>
          <p:nvPr/>
        </p:nvSpPr>
        <p:spPr>
          <a:xfrm>
            <a:off x="3640251" y="46899"/>
            <a:ext cx="6347812" cy="839713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2588654" y="785403"/>
            <a:ext cx="7399409" cy="708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 algn="ctr">
              <a:buFont typeface="Wingdings" panose="05000000000000000000" pitchFamily="2" charset="2"/>
              <a:buChar char="ü"/>
            </a:pPr>
            <a:r>
              <a:rPr lang="fr-FR" sz="3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fr-FR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ase </a:t>
            </a:r>
            <a:r>
              <a:rPr lang="fr-FR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fr-FR" sz="3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3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éalisation du MLD</a:t>
            </a:r>
            <a:endParaRPr lang="fr-FR" sz="3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9">
            <a:extLst>
              <a:ext uri="{FF2B5EF4-FFF2-40B4-BE49-F238E27FC236}">
                <a16:creationId xmlns="" xmlns:a16="http://schemas.microsoft.com/office/drawing/2014/main" id="{6A18878A-FACF-496E-A937-8B120674250D}"/>
              </a:ext>
            </a:extLst>
          </p:cNvPr>
          <p:cNvSpPr txBox="1"/>
          <p:nvPr/>
        </p:nvSpPr>
        <p:spPr>
          <a:xfrm>
            <a:off x="-149547" y="682902"/>
            <a:ext cx="378979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b="1" dirty="0" err="1" smtClean="0">
                <a:solidFill>
                  <a:srgbClr val="D63A31"/>
                </a:solidFill>
                <a:latin typeface="+mj-lt"/>
              </a:rPr>
              <a:t>Liv</a:t>
            </a:r>
            <a:r>
              <a:rPr lang="en-US" sz="2800" b="1" dirty="0" err="1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rables</a:t>
            </a:r>
            <a:endParaRPr lang="fr-CM" sz="2800" b="1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cxnSp>
        <p:nvCxnSpPr>
          <p:cNvPr id="17" name="Straight Connector 235">
            <a:extLst>
              <a:ext uri="{FF2B5EF4-FFF2-40B4-BE49-F238E27FC236}">
                <a16:creationId xmlns="" xmlns:a16="http://schemas.microsoft.com/office/drawing/2014/main" id="{7CAA804B-F70E-4EBD-A48C-EAD8A7C82985}"/>
              </a:ext>
            </a:extLst>
          </p:cNvPr>
          <p:cNvCxnSpPr/>
          <p:nvPr/>
        </p:nvCxnSpPr>
        <p:spPr>
          <a:xfrm>
            <a:off x="824248" y="1088321"/>
            <a:ext cx="176440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Nuage 13"/>
          <p:cNvSpPr/>
          <p:nvPr/>
        </p:nvSpPr>
        <p:spPr>
          <a:xfrm>
            <a:off x="10951030" y="6148200"/>
            <a:ext cx="697632" cy="492086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 smtClean="0">
                <a:solidFill>
                  <a:schemeClr val="tx2"/>
                </a:solidFill>
                <a:latin typeface="Gabriola" panose="04040605051002020D02" pitchFamily="82" charset="0"/>
              </a:rPr>
              <a:t>19</a:t>
            </a:r>
            <a:endParaRPr lang="fr-FR" sz="3200" b="1" dirty="0">
              <a:solidFill>
                <a:schemeClr val="tx2"/>
              </a:solidFill>
              <a:latin typeface="Gabriola" panose="04040605051002020D02" pitchFamily="82" charset="0"/>
            </a:endParaRPr>
          </a:p>
        </p:txBody>
      </p:sp>
      <p:sp>
        <p:nvSpPr>
          <p:cNvPr id="10" name="TextBox 134">
            <a:extLst>
              <a:ext uri="{FF2B5EF4-FFF2-40B4-BE49-F238E27FC236}">
                <a16:creationId xmlns="" xmlns:a16="http://schemas.microsoft.com/office/drawing/2014/main" id="{7C8D54A0-F533-42D8-8BE6-4367D7F44298}"/>
              </a:ext>
            </a:extLst>
          </p:cNvPr>
          <p:cNvSpPr txBox="1"/>
          <p:nvPr/>
        </p:nvSpPr>
        <p:spPr>
          <a:xfrm>
            <a:off x="3534772" y="239469"/>
            <a:ext cx="6547652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éalisation des specifications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  <a:p>
            <a:pPr algn="ctr">
              <a:buClr>
                <a:schemeClr val="accent2"/>
              </a:buClr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7170" name="Picture 2" descr="ML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05" y="1493741"/>
            <a:ext cx="10639425" cy="5267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800006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>
            <a:extLst>
              <a:ext uri="{FF2B5EF4-FFF2-40B4-BE49-F238E27FC236}">
                <a16:creationId xmlns="" xmlns:a16="http://schemas.microsoft.com/office/drawing/2014/main" id="{E397A693-E640-45FF-B752-A56BE68A8669}"/>
              </a:ext>
            </a:extLst>
          </p:cNvPr>
          <p:cNvGrpSpPr/>
          <p:nvPr/>
        </p:nvGrpSpPr>
        <p:grpSpPr>
          <a:xfrm>
            <a:off x="324603" y="521068"/>
            <a:ext cx="4603968" cy="5750333"/>
            <a:chOff x="3894138" y="715963"/>
            <a:chExt cx="4341812" cy="5422901"/>
          </a:xfrm>
        </p:grpSpPr>
        <p:sp>
          <p:nvSpPr>
            <p:cNvPr id="38" name="Freeform 5">
              <a:extLst>
                <a:ext uri="{FF2B5EF4-FFF2-40B4-BE49-F238E27FC236}">
                  <a16:creationId xmlns="" xmlns:a16="http://schemas.microsoft.com/office/drawing/2014/main" id="{93E1F67A-9B44-48A6-81C2-C0DCDDF9F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7988" y="4892676"/>
              <a:ext cx="161925" cy="123825"/>
            </a:xfrm>
            <a:custGeom>
              <a:avLst/>
              <a:gdLst>
                <a:gd name="T0" fmla="*/ 36 w 54"/>
                <a:gd name="T1" fmla="*/ 3 h 42"/>
                <a:gd name="T2" fmla="*/ 7 w 54"/>
                <a:gd name="T3" fmla="*/ 21 h 42"/>
                <a:gd name="T4" fmla="*/ 3 w 54"/>
                <a:gd name="T5" fmla="*/ 35 h 42"/>
                <a:gd name="T6" fmla="*/ 18 w 54"/>
                <a:gd name="T7" fmla="*/ 39 h 42"/>
                <a:gd name="T8" fmla="*/ 47 w 54"/>
                <a:gd name="T9" fmla="*/ 21 h 42"/>
                <a:gd name="T10" fmla="*/ 51 w 54"/>
                <a:gd name="T11" fmla="*/ 7 h 42"/>
                <a:gd name="T12" fmla="*/ 36 w 54"/>
                <a:gd name="T13" fmla="*/ 3 h 42"/>
                <a:gd name="T14" fmla="*/ 36 w 54"/>
                <a:gd name="T15" fmla="*/ 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42">
                  <a:moveTo>
                    <a:pt x="36" y="3"/>
                  </a:moveTo>
                  <a:cubicBezTo>
                    <a:pt x="26" y="10"/>
                    <a:pt x="17" y="16"/>
                    <a:pt x="7" y="21"/>
                  </a:cubicBezTo>
                  <a:cubicBezTo>
                    <a:pt x="2" y="24"/>
                    <a:pt x="0" y="31"/>
                    <a:pt x="3" y="35"/>
                  </a:cubicBezTo>
                  <a:cubicBezTo>
                    <a:pt x="6" y="40"/>
                    <a:pt x="13" y="42"/>
                    <a:pt x="18" y="39"/>
                  </a:cubicBezTo>
                  <a:cubicBezTo>
                    <a:pt x="27" y="33"/>
                    <a:pt x="37" y="27"/>
                    <a:pt x="47" y="21"/>
                  </a:cubicBezTo>
                  <a:cubicBezTo>
                    <a:pt x="52" y="18"/>
                    <a:pt x="54" y="12"/>
                    <a:pt x="51" y="7"/>
                  </a:cubicBezTo>
                  <a:cubicBezTo>
                    <a:pt x="48" y="2"/>
                    <a:pt x="41" y="0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">
              <a:extLst>
                <a:ext uri="{FF2B5EF4-FFF2-40B4-BE49-F238E27FC236}">
                  <a16:creationId xmlns="" xmlns:a16="http://schemas.microsoft.com/office/drawing/2014/main" id="{45FA6C86-9A4A-4611-A2FF-F749F4D98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3513" y="5016501"/>
              <a:ext cx="193675" cy="134938"/>
            </a:xfrm>
            <a:custGeom>
              <a:avLst/>
              <a:gdLst>
                <a:gd name="T0" fmla="*/ 49 w 65"/>
                <a:gd name="T1" fmla="*/ 2 h 45"/>
                <a:gd name="T2" fmla="*/ 7 w 65"/>
                <a:gd name="T3" fmla="*/ 24 h 45"/>
                <a:gd name="T4" fmla="*/ 3 w 65"/>
                <a:gd name="T5" fmla="*/ 38 h 45"/>
                <a:gd name="T6" fmla="*/ 17 w 65"/>
                <a:gd name="T7" fmla="*/ 43 h 45"/>
                <a:gd name="T8" fmla="*/ 59 w 65"/>
                <a:gd name="T9" fmla="*/ 21 h 45"/>
                <a:gd name="T10" fmla="*/ 63 w 65"/>
                <a:gd name="T11" fmla="*/ 6 h 45"/>
                <a:gd name="T12" fmla="*/ 49 w 65"/>
                <a:gd name="T13" fmla="*/ 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45">
                  <a:moveTo>
                    <a:pt x="49" y="2"/>
                  </a:moveTo>
                  <a:cubicBezTo>
                    <a:pt x="35" y="10"/>
                    <a:pt x="21" y="17"/>
                    <a:pt x="7" y="24"/>
                  </a:cubicBezTo>
                  <a:cubicBezTo>
                    <a:pt x="2" y="27"/>
                    <a:pt x="0" y="33"/>
                    <a:pt x="3" y="38"/>
                  </a:cubicBezTo>
                  <a:cubicBezTo>
                    <a:pt x="5" y="43"/>
                    <a:pt x="12" y="45"/>
                    <a:pt x="17" y="43"/>
                  </a:cubicBezTo>
                  <a:cubicBezTo>
                    <a:pt x="30" y="36"/>
                    <a:pt x="44" y="28"/>
                    <a:pt x="59" y="21"/>
                  </a:cubicBezTo>
                  <a:cubicBezTo>
                    <a:pt x="64" y="18"/>
                    <a:pt x="65" y="11"/>
                    <a:pt x="63" y="6"/>
                  </a:cubicBezTo>
                  <a:cubicBezTo>
                    <a:pt x="60" y="1"/>
                    <a:pt x="54" y="0"/>
                    <a:pt x="49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7">
              <a:extLst>
                <a:ext uri="{FF2B5EF4-FFF2-40B4-BE49-F238E27FC236}">
                  <a16:creationId xmlns="" xmlns:a16="http://schemas.microsoft.com/office/drawing/2014/main" id="{2821AB6B-0778-4402-882D-D9779491F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850" y="5141913"/>
              <a:ext cx="166688" cy="111125"/>
            </a:xfrm>
            <a:custGeom>
              <a:avLst/>
              <a:gdLst>
                <a:gd name="T0" fmla="*/ 40 w 56"/>
                <a:gd name="T1" fmla="*/ 2 h 37"/>
                <a:gd name="T2" fmla="*/ 8 w 56"/>
                <a:gd name="T3" fmla="*/ 16 h 37"/>
                <a:gd name="T4" fmla="*/ 2 w 56"/>
                <a:gd name="T5" fmla="*/ 29 h 37"/>
                <a:gd name="T6" fmla="*/ 16 w 56"/>
                <a:gd name="T7" fmla="*/ 35 h 37"/>
                <a:gd name="T8" fmla="*/ 48 w 56"/>
                <a:gd name="T9" fmla="*/ 21 h 37"/>
                <a:gd name="T10" fmla="*/ 53 w 56"/>
                <a:gd name="T11" fmla="*/ 7 h 37"/>
                <a:gd name="T12" fmla="*/ 40 w 56"/>
                <a:gd name="T13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37">
                  <a:moveTo>
                    <a:pt x="40" y="2"/>
                  </a:moveTo>
                  <a:cubicBezTo>
                    <a:pt x="29" y="7"/>
                    <a:pt x="18" y="12"/>
                    <a:pt x="8" y="16"/>
                  </a:cubicBezTo>
                  <a:cubicBezTo>
                    <a:pt x="3" y="18"/>
                    <a:pt x="0" y="24"/>
                    <a:pt x="2" y="29"/>
                  </a:cubicBezTo>
                  <a:cubicBezTo>
                    <a:pt x="5" y="35"/>
                    <a:pt x="11" y="37"/>
                    <a:pt x="16" y="35"/>
                  </a:cubicBezTo>
                  <a:cubicBezTo>
                    <a:pt x="26" y="31"/>
                    <a:pt x="37" y="26"/>
                    <a:pt x="48" y="21"/>
                  </a:cubicBezTo>
                  <a:cubicBezTo>
                    <a:pt x="53" y="19"/>
                    <a:pt x="56" y="13"/>
                    <a:pt x="53" y="7"/>
                  </a:cubicBezTo>
                  <a:cubicBezTo>
                    <a:pt x="51" y="2"/>
                    <a:pt x="45" y="0"/>
                    <a:pt x="4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8">
              <a:extLst>
                <a:ext uri="{FF2B5EF4-FFF2-40B4-BE49-F238E27FC236}">
                  <a16:creationId xmlns="" xmlns:a16="http://schemas.microsoft.com/office/drawing/2014/main" id="{1AA6070F-3F31-4D3D-8A01-9E991193A0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3475" y="5446713"/>
              <a:ext cx="239713" cy="42386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9">
              <a:extLst>
                <a:ext uri="{FF2B5EF4-FFF2-40B4-BE49-F238E27FC236}">
                  <a16:creationId xmlns="" xmlns:a16="http://schemas.microsoft.com/office/drawing/2014/main" id="{90AACFE0-BDD1-4E19-AF4D-37D79B79F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475" y="5446713"/>
              <a:ext cx="239713" cy="423863"/>
            </a:xfrm>
            <a:custGeom>
              <a:avLst/>
              <a:gdLst>
                <a:gd name="T0" fmla="*/ 0 w 151"/>
                <a:gd name="T1" fmla="*/ 0 h 267"/>
                <a:gd name="T2" fmla="*/ 0 w 151"/>
                <a:gd name="T3" fmla="*/ 267 h 267"/>
                <a:gd name="T4" fmla="*/ 151 w 151"/>
                <a:gd name="T5" fmla="*/ 267 h 267"/>
                <a:gd name="T6" fmla="*/ 151 w 151"/>
                <a:gd name="T7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1" h="267">
                  <a:moveTo>
                    <a:pt x="0" y="0"/>
                  </a:moveTo>
                  <a:lnTo>
                    <a:pt x="0" y="267"/>
                  </a:lnTo>
                  <a:lnTo>
                    <a:pt x="151" y="267"/>
                  </a:lnTo>
                  <a:lnTo>
                    <a:pt x="15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0">
              <a:extLst>
                <a:ext uri="{FF2B5EF4-FFF2-40B4-BE49-F238E27FC236}">
                  <a16:creationId xmlns="" xmlns:a16="http://schemas.microsoft.com/office/drawing/2014/main" id="{93A34D46-159F-46BA-9780-952EE7DDA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4138" y="939801"/>
              <a:ext cx="3325813" cy="4659313"/>
            </a:xfrm>
            <a:custGeom>
              <a:avLst/>
              <a:gdLst>
                <a:gd name="T0" fmla="*/ 823 w 1114"/>
                <a:gd name="T1" fmla="*/ 1547 h 1562"/>
                <a:gd name="T2" fmla="*/ 502 w 1114"/>
                <a:gd name="T3" fmla="*/ 1479 h 1562"/>
                <a:gd name="T4" fmla="*/ 77 w 1114"/>
                <a:gd name="T5" fmla="*/ 1037 h 1562"/>
                <a:gd name="T6" fmla="*/ 90 w 1114"/>
                <a:gd name="T7" fmla="*/ 425 h 1562"/>
                <a:gd name="T8" fmla="*/ 532 w 1114"/>
                <a:gd name="T9" fmla="*/ 0 h 1562"/>
                <a:gd name="T10" fmla="*/ 561 w 1114"/>
                <a:gd name="T11" fmla="*/ 74 h 1562"/>
                <a:gd name="T12" fmla="*/ 151 w 1114"/>
                <a:gd name="T13" fmla="*/ 1008 h 1562"/>
                <a:gd name="T14" fmla="*/ 1085 w 1114"/>
                <a:gd name="T15" fmla="*/ 1418 h 1562"/>
                <a:gd name="T16" fmla="*/ 1114 w 1114"/>
                <a:gd name="T17" fmla="*/ 1492 h 1562"/>
                <a:gd name="T18" fmla="*/ 823 w 1114"/>
                <a:gd name="T19" fmla="*/ 1547 h 1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4" h="1562">
                  <a:moveTo>
                    <a:pt x="823" y="1547"/>
                  </a:moveTo>
                  <a:cubicBezTo>
                    <a:pt x="714" y="1547"/>
                    <a:pt x="605" y="1525"/>
                    <a:pt x="502" y="1479"/>
                  </a:cubicBezTo>
                  <a:cubicBezTo>
                    <a:pt x="306" y="1393"/>
                    <a:pt x="155" y="1236"/>
                    <a:pt x="77" y="1037"/>
                  </a:cubicBezTo>
                  <a:cubicBezTo>
                    <a:pt x="0" y="838"/>
                    <a:pt x="4" y="621"/>
                    <a:pt x="90" y="425"/>
                  </a:cubicBezTo>
                  <a:cubicBezTo>
                    <a:pt x="176" y="229"/>
                    <a:pt x="333" y="78"/>
                    <a:pt x="532" y="0"/>
                  </a:cubicBezTo>
                  <a:cubicBezTo>
                    <a:pt x="561" y="74"/>
                    <a:pt x="561" y="74"/>
                    <a:pt x="561" y="74"/>
                  </a:cubicBezTo>
                  <a:cubicBezTo>
                    <a:pt x="190" y="219"/>
                    <a:pt x="7" y="638"/>
                    <a:pt x="151" y="1008"/>
                  </a:cubicBezTo>
                  <a:cubicBezTo>
                    <a:pt x="296" y="1379"/>
                    <a:pt x="715" y="1562"/>
                    <a:pt x="1085" y="1418"/>
                  </a:cubicBezTo>
                  <a:cubicBezTo>
                    <a:pt x="1114" y="1492"/>
                    <a:pt x="1114" y="1492"/>
                    <a:pt x="1114" y="1492"/>
                  </a:cubicBezTo>
                  <a:cubicBezTo>
                    <a:pt x="1020" y="1529"/>
                    <a:pt x="921" y="1547"/>
                    <a:pt x="823" y="1547"/>
                  </a:cubicBez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1">
              <a:extLst>
                <a:ext uri="{FF2B5EF4-FFF2-40B4-BE49-F238E27FC236}">
                  <a16:creationId xmlns="" xmlns:a16="http://schemas.microsoft.com/office/drawing/2014/main" id="{4AD065AE-ED39-453F-B41C-154E37EEC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4950" y="1193801"/>
              <a:ext cx="176213" cy="85725"/>
            </a:xfrm>
            <a:custGeom>
              <a:avLst/>
              <a:gdLst>
                <a:gd name="T0" fmla="*/ 59 w 59"/>
                <a:gd name="T1" fmla="*/ 0 h 29"/>
                <a:gd name="T2" fmla="*/ 0 w 59"/>
                <a:gd name="T3" fmla="*/ 29 h 29"/>
                <a:gd name="T4" fmla="*/ 0 w 59"/>
                <a:gd name="T5" fmla="*/ 29 h 29"/>
                <a:gd name="T6" fmla="*/ 59 w 59"/>
                <a:gd name="T7" fmla="*/ 0 h 29"/>
                <a:gd name="T8" fmla="*/ 59 w 59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9">
                  <a:moveTo>
                    <a:pt x="59" y="0"/>
                  </a:moveTo>
                  <a:cubicBezTo>
                    <a:pt x="38" y="9"/>
                    <a:pt x="19" y="1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9" y="19"/>
                    <a:pt x="38" y="9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CC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42A34D6B-A03E-4527-8B67-B521CBC60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6050" y="973138"/>
              <a:ext cx="265113" cy="306388"/>
            </a:xfrm>
            <a:custGeom>
              <a:avLst/>
              <a:gdLst>
                <a:gd name="T0" fmla="*/ 60 w 89"/>
                <a:gd name="T1" fmla="*/ 0 h 103"/>
                <a:gd name="T2" fmla="*/ 0 w 89"/>
                <a:gd name="T3" fmla="*/ 29 h 103"/>
                <a:gd name="T4" fmla="*/ 30 w 89"/>
                <a:gd name="T5" fmla="*/ 103 h 103"/>
                <a:gd name="T6" fmla="*/ 89 w 89"/>
                <a:gd name="T7" fmla="*/ 74 h 103"/>
                <a:gd name="T8" fmla="*/ 60 w 89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03">
                  <a:moveTo>
                    <a:pt x="60" y="0"/>
                  </a:moveTo>
                  <a:cubicBezTo>
                    <a:pt x="39" y="9"/>
                    <a:pt x="20" y="18"/>
                    <a:pt x="0" y="29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49" y="93"/>
                    <a:pt x="68" y="83"/>
                    <a:pt x="89" y="74"/>
                  </a:cubicBezTo>
                  <a:cubicBezTo>
                    <a:pt x="60" y="0"/>
                    <a:pt x="60" y="0"/>
                    <a:pt x="60" y="0"/>
                  </a:cubicBezTo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13">
              <a:extLst>
                <a:ext uri="{FF2B5EF4-FFF2-40B4-BE49-F238E27FC236}">
                  <a16:creationId xmlns="" xmlns:a16="http://schemas.microsoft.com/office/drawing/2014/main" id="{C8A04657-5220-42F3-92A8-509156871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7050" y="5199063"/>
              <a:ext cx="179388" cy="50800"/>
            </a:xfrm>
            <a:custGeom>
              <a:avLst/>
              <a:gdLst>
                <a:gd name="T0" fmla="*/ 60 w 60"/>
                <a:gd name="T1" fmla="*/ 0 h 17"/>
                <a:gd name="T2" fmla="*/ 0 w 60"/>
                <a:gd name="T3" fmla="*/ 17 h 17"/>
                <a:gd name="T4" fmla="*/ 0 w 60"/>
                <a:gd name="T5" fmla="*/ 17 h 17"/>
                <a:gd name="T6" fmla="*/ 60 w 60"/>
                <a:gd name="T7" fmla="*/ 0 h 17"/>
                <a:gd name="T8" fmla="*/ 60 w 60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7">
                  <a:moveTo>
                    <a:pt x="60" y="0"/>
                  </a:moveTo>
                  <a:cubicBezTo>
                    <a:pt x="40" y="7"/>
                    <a:pt x="20" y="12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0" y="12"/>
                    <a:pt x="40" y="7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</a:path>
              </a:pathLst>
            </a:custGeom>
            <a:solidFill>
              <a:srgbClr val="CC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4">
              <a:extLst>
                <a:ext uri="{FF2B5EF4-FFF2-40B4-BE49-F238E27FC236}">
                  <a16:creationId xmlns="" xmlns:a16="http://schemas.microsoft.com/office/drawing/2014/main" id="{E48C35B5-66DD-4110-9DCE-A278BEDF95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7050" y="5199063"/>
              <a:ext cx="265113" cy="274638"/>
            </a:xfrm>
            <a:custGeom>
              <a:avLst/>
              <a:gdLst>
                <a:gd name="T0" fmla="*/ 60 w 89"/>
                <a:gd name="T1" fmla="*/ 0 h 92"/>
                <a:gd name="T2" fmla="*/ 0 w 89"/>
                <a:gd name="T3" fmla="*/ 17 h 92"/>
                <a:gd name="T4" fmla="*/ 30 w 89"/>
                <a:gd name="T5" fmla="*/ 92 h 92"/>
                <a:gd name="T6" fmla="*/ 89 w 89"/>
                <a:gd name="T7" fmla="*/ 74 h 92"/>
                <a:gd name="T8" fmla="*/ 60 w 89"/>
                <a:gd name="T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2">
                  <a:moveTo>
                    <a:pt x="60" y="0"/>
                  </a:moveTo>
                  <a:cubicBezTo>
                    <a:pt x="40" y="7"/>
                    <a:pt x="20" y="12"/>
                    <a:pt x="0" y="17"/>
                  </a:cubicBezTo>
                  <a:cubicBezTo>
                    <a:pt x="30" y="92"/>
                    <a:pt x="30" y="92"/>
                    <a:pt x="30" y="92"/>
                  </a:cubicBezTo>
                  <a:cubicBezTo>
                    <a:pt x="50" y="87"/>
                    <a:pt x="69" y="81"/>
                    <a:pt x="89" y="74"/>
                  </a:cubicBezTo>
                  <a:cubicBezTo>
                    <a:pt x="60" y="0"/>
                    <a:pt x="60" y="0"/>
                    <a:pt x="60" y="0"/>
                  </a:cubicBezTo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5">
              <a:extLst>
                <a:ext uri="{FF2B5EF4-FFF2-40B4-BE49-F238E27FC236}">
                  <a16:creationId xmlns="" xmlns:a16="http://schemas.microsoft.com/office/drawing/2014/main" id="{FA2BCF61-5422-4A34-8AD4-F5DDA1172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2413" y="715963"/>
              <a:ext cx="2028825" cy="4913313"/>
            </a:xfrm>
            <a:custGeom>
              <a:avLst/>
              <a:gdLst>
                <a:gd name="T0" fmla="*/ 5 w 679"/>
                <a:gd name="T1" fmla="*/ 39 h 1647"/>
                <a:gd name="T2" fmla="*/ 625 w 679"/>
                <a:gd name="T3" fmla="*/ 1627 h 1647"/>
                <a:gd name="T4" fmla="*/ 659 w 679"/>
                <a:gd name="T5" fmla="*/ 1642 h 1647"/>
                <a:gd name="T6" fmla="*/ 674 w 679"/>
                <a:gd name="T7" fmla="*/ 1608 h 1647"/>
                <a:gd name="T8" fmla="*/ 53 w 679"/>
                <a:gd name="T9" fmla="*/ 20 h 1647"/>
                <a:gd name="T10" fmla="*/ 20 w 679"/>
                <a:gd name="T11" fmla="*/ 5 h 1647"/>
                <a:gd name="T12" fmla="*/ 5 w 679"/>
                <a:gd name="T13" fmla="*/ 39 h 1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9" h="1647">
                  <a:moveTo>
                    <a:pt x="5" y="39"/>
                  </a:moveTo>
                  <a:cubicBezTo>
                    <a:pt x="625" y="1627"/>
                    <a:pt x="625" y="1627"/>
                    <a:pt x="625" y="1627"/>
                  </a:cubicBezTo>
                  <a:cubicBezTo>
                    <a:pt x="630" y="1641"/>
                    <a:pt x="646" y="1647"/>
                    <a:pt x="659" y="1642"/>
                  </a:cubicBezTo>
                  <a:cubicBezTo>
                    <a:pt x="672" y="1637"/>
                    <a:pt x="679" y="1622"/>
                    <a:pt x="674" y="1608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48" y="7"/>
                    <a:pt x="33" y="0"/>
                    <a:pt x="20" y="5"/>
                  </a:cubicBezTo>
                  <a:cubicBezTo>
                    <a:pt x="6" y="10"/>
                    <a:pt x="0" y="25"/>
                    <a:pt x="5" y="39"/>
                  </a:cubicBez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Oval 16">
              <a:extLst>
                <a:ext uri="{FF2B5EF4-FFF2-40B4-BE49-F238E27FC236}">
                  <a16:creationId xmlns="" xmlns:a16="http://schemas.microsoft.com/office/drawing/2014/main" id="{FF1AD0DA-6B14-477E-84BE-B03216D4E6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0400" y="1285876"/>
              <a:ext cx="3765550" cy="37576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7">
              <a:extLst>
                <a:ext uri="{FF2B5EF4-FFF2-40B4-BE49-F238E27FC236}">
                  <a16:creationId xmlns="" xmlns:a16="http://schemas.microsoft.com/office/drawing/2014/main" id="{D5020836-7F3B-44F1-B4EC-CED187AD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8338" y="1598613"/>
              <a:ext cx="1111250" cy="1133475"/>
            </a:xfrm>
            <a:custGeom>
              <a:avLst/>
              <a:gdLst>
                <a:gd name="T0" fmla="*/ 61 w 372"/>
                <a:gd name="T1" fmla="*/ 53 h 380"/>
                <a:gd name="T2" fmla="*/ 298 w 372"/>
                <a:gd name="T3" fmla="*/ 115 h 380"/>
                <a:gd name="T4" fmla="*/ 302 w 372"/>
                <a:gd name="T5" fmla="*/ 355 h 380"/>
                <a:gd name="T6" fmla="*/ 127 w 372"/>
                <a:gd name="T7" fmla="*/ 241 h 380"/>
                <a:gd name="T8" fmla="*/ 61 w 372"/>
                <a:gd name="T9" fmla="*/ 53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80">
                  <a:moveTo>
                    <a:pt x="61" y="53"/>
                  </a:moveTo>
                  <a:cubicBezTo>
                    <a:pt x="106" y="0"/>
                    <a:pt x="233" y="33"/>
                    <a:pt x="298" y="115"/>
                  </a:cubicBezTo>
                  <a:cubicBezTo>
                    <a:pt x="363" y="196"/>
                    <a:pt x="372" y="331"/>
                    <a:pt x="302" y="355"/>
                  </a:cubicBezTo>
                  <a:cubicBezTo>
                    <a:pt x="233" y="380"/>
                    <a:pt x="180" y="282"/>
                    <a:pt x="127" y="241"/>
                  </a:cubicBezTo>
                  <a:cubicBezTo>
                    <a:pt x="74" y="200"/>
                    <a:pt x="0" y="127"/>
                    <a:pt x="61" y="53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8">
              <a:extLst>
                <a:ext uri="{FF2B5EF4-FFF2-40B4-BE49-F238E27FC236}">
                  <a16:creationId xmlns="" xmlns:a16="http://schemas.microsoft.com/office/drawing/2014/main" id="{EF49DE25-DA58-403F-9569-82E77874B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0400" y="1879601"/>
              <a:ext cx="1606550" cy="2989263"/>
            </a:xfrm>
            <a:custGeom>
              <a:avLst/>
              <a:gdLst>
                <a:gd name="T0" fmla="*/ 436 w 538"/>
                <a:gd name="T1" fmla="*/ 445 h 1002"/>
                <a:gd name="T2" fmla="*/ 326 w 538"/>
                <a:gd name="T3" fmla="*/ 192 h 1002"/>
                <a:gd name="T4" fmla="*/ 170 w 538"/>
                <a:gd name="T5" fmla="*/ 0 h 1002"/>
                <a:gd name="T6" fmla="*/ 0 w 538"/>
                <a:gd name="T7" fmla="*/ 431 h 1002"/>
                <a:gd name="T8" fmla="*/ 363 w 538"/>
                <a:gd name="T9" fmla="*/ 1002 h 1002"/>
                <a:gd name="T10" fmla="*/ 420 w 538"/>
                <a:gd name="T11" fmla="*/ 853 h 1002"/>
                <a:gd name="T12" fmla="*/ 404 w 538"/>
                <a:gd name="T13" fmla="*/ 641 h 1002"/>
                <a:gd name="T14" fmla="*/ 436 w 538"/>
                <a:gd name="T15" fmla="*/ 445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8" h="1002">
                  <a:moveTo>
                    <a:pt x="436" y="445"/>
                  </a:moveTo>
                  <a:cubicBezTo>
                    <a:pt x="538" y="400"/>
                    <a:pt x="518" y="257"/>
                    <a:pt x="326" y="192"/>
                  </a:cubicBezTo>
                  <a:cubicBezTo>
                    <a:pt x="225" y="158"/>
                    <a:pt x="181" y="78"/>
                    <a:pt x="170" y="0"/>
                  </a:cubicBezTo>
                  <a:cubicBezTo>
                    <a:pt x="65" y="113"/>
                    <a:pt x="0" y="265"/>
                    <a:pt x="0" y="431"/>
                  </a:cubicBezTo>
                  <a:cubicBezTo>
                    <a:pt x="0" y="683"/>
                    <a:pt x="149" y="901"/>
                    <a:pt x="363" y="1002"/>
                  </a:cubicBezTo>
                  <a:cubicBezTo>
                    <a:pt x="355" y="942"/>
                    <a:pt x="386" y="887"/>
                    <a:pt x="420" y="853"/>
                  </a:cubicBezTo>
                  <a:cubicBezTo>
                    <a:pt x="481" y="792"/>
                    <a:pt x="506" y="706"/>
                    <a:pt x="404" y="641"/>
                  </a:cubicBezTo>
                  <a:cubicBezTo>
                    <a:pt x="302" y="575"/>
                    <a:pt x="334" y="490"/>
                    <a:pt x="436" y="445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9">
              <a:extLst>
                <a:ext uri="{FF2B5EF4-FFF2-40B4-BE49-F238E27FC236}">
                  <a16:creationId xmlns="" xmlns:a16="http://schemas.microsoft.com/office/drawing/2014/main" id="{FC4003F8-A042-4266-9A60-A6CE0C9A9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0400" y="2178051"/>
              <a:ext cx="935038" cy="2562225"/>
            </a:xfrm>
            <a:custGeom>
              <a:avLst/>
              <a:gdLst>
                <a:gd name="T0" fmla="*/ 287 w 313"/>
                <a:gd name="T1" fmla="*/ 859 h 859"/>
                <a:gd name="T2" fmla="*/ 242 w 313"/>
                <a:gd name="T3" fmla="*/ 669 h 859"/>
                <a:gd name="T4" fmla="*/ 207 w 313"/>
                <a:gd name="T5" fmla="*/ 359 h 859"/>
                <a:gd name="T6" fmla="*/ 159 w 313"/>
                <a:gd name="T7" fmla="*/ 131 h 859"/>
                <a:gd name="T8" fmla="*/ 94 w 313"/>
                <a:gd name="T9" fmla="*/ 0 h 859"/>
                <a:gd name="T10" fmla="*/ 0 w 313"/>
                <a:gd name="T11" fmla="*/ 331 h 859"/>
                <a:gd name="T12" fmla="*/ 287 w 313"/>
                <a:gd name="T13" fmla="*/ 859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3" h="859">
                  <a:moveTo>
                    <a:pt x="287" y="859"/>
                  </a:moveTo>
                  <a:cubicBezTo>
                    <a:pt x="313" y="791"/>
                    <a:pt x="277" y="707"/>
                    <a:pt x="242" y="669"/>
                  </a:cubicBezTo>
                  <a:cubicBezTo>
                    <a:pt x="190" y="614"/>
                    <a:pt x="155" y="438"/>
                    <a:pt x="207" y="359"/>
                  </a:cubicBezTo>
                  <a:cubicBezTo>
                    <a:pt x="259" y="279"/>
                    <a:pt x="242" y="179"/>
                    <a:pt x="159" y="131"/>
                  </a:cubicBezTo>
                  <a:cubicBezTo>
                    <a:pt x="106" y="100"/>
                    <a:pt x="95" y="40"/>
                    <a:pt x="94" y="0"/>
                  </a:cubicBezTo>
                  <a:cubicBezTo>
                    <a:pt x="35" y="96"/>
                    <a:pt x="0" y="210"/>
                    <a:pt x="0" y="331"/>
                  </a:cubicBezTo>
                  <a:cubicBezTo>
                    <a:pt x="0" y="552"/>
                    <a:pt x="114" y="747"/>
                    <a:pt x="287" y="859"/>
                  </a:cubicBez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0">
              <a:extLst>
                <a:ext uri="{FF2B5EF4-FFF2-40B4-BE49-F238E27FC236}">
                  <a16:creationId xmlns="" xmlns:a16="http://schemas.microsoft.com/office/drawing/2014/main" id="{96534D0A-69D8-4C3A-955C-10B6985CA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7800" y="1349376"/>
              <a:ext cx="1708150" cy="3300413"/>
            </a:xfrm>
            <a:custGeom>
              <a:avLst/>
              <a:gdLst>
                <a:gd name="T0" fmla="*/ 105 w 572"/>
                <a:gd name="T1" fmla="*/ 0 h 1107"/>
                <a:gd name="T2" fmla="*/ 176 w 572"/>
                <a:gd name="T3" fmla="*/ 199 h 1107"/>
                <a:gd name="T4" fmla="*/ 261 w 572"/>
                <a:gd name="T5" fmla="*/ 651 h 1107"/>
                <a:gd name="T6" fmla="*/ 159 w 572"/>
                <a:gd name="T7" fmla="*/ 1043 h 1107"/>
                <a:gd name="T8" fmla="*/ 328 w 572"/>
                <a:gd name="T9" fmla="*/ 1107 h 1107"/>
                <a:gd name="T10" fmla="*/ 572 w 572"/>
                <a:gd name="T11" fmla="*/ 609 h 1107"/>
                <a:gd name="T12" fmla="*/ 105 w 572"/>
                <a:gd name="T13" fmla="*/ 0 h 1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2" h="1107">
                  <a:moveTo>
                    <a:pt x="105" y="0"/>
                  </a:moveTo>
                  <a:cubicBezTo>
                    <a:pt x="93" y="57"/>
                    <a:pt x="114" y="137"/>
                    <a:pt x="176" y="199"/>
                  </a:cubicBezTo>
                  <a:cubicBezTo>
                    <a:pt x="274" y="296"/>
                    <a:pt x="421" y="517"/>
                    <a:pt x="261" y="651"/>
                  </a:cubicBezTo>
                  <a:cubicBezTo>
                    <a:pt x="102" y="786"/>
                    <a:pt x="0" y="945"/>
                    <a:pt x="159" y="1043"/>
                  </a:cubicBezTo>
                  <a:cubicBezTo>
                    <a:pt x="218" y="1079"/>
                    <a:pt x="276" y="1098"/>
                    <a:pt x="328" y="1107"/>
                  </a:cubicBezTo>
                  <a:cubicBezTo>
                    <a:pt x="476" y="992"/>
                    <a:pt x="572" y="812"/>
                    <a:pt x="572" y="609"/>
                  </a:cubicBezTo>
                  <a:cubicBezTo>
                    <a:pt x="572" y="317"/>
                    <a:pt x="374" y="72"/>
                    <a:pt x="105" y="0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1">
              <a:extLst>
                <a:ext uri="{FF2B5EF4-FFF2-40B4-BE49-F238E27FC236}">
                  <a16:creationId xmlns="" xmlns:a16="http://schemas.microsoft.com/office/drawing/2014/main" id="{62D9F9AE-85A3-41D7-BC0C-9BFE94712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588" y="1792288"/>
              <a:ext cx="569913" cy="671513"/>
            </a:xfrm>
            <a:custGeom>
              <a:avLst/>
              <a:gdLst>
                <a:gd name="T0" fmla="*/ 32 w 191"/>
                <a:gd name="T1" fmla="*/ 38 h 225"/>
                <a:gd name="T2" fmla="*/ 135 w 191"/>
                <a:gd name="T3" fmla="*/ 208 h 225"/>
                <a:gd name="T4" fmla="*/ 32 w 191"/>
                <a:gd name="T5" fmla="*/ 38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1" h="225">
                  <a:moveTo>
                    <a:pt x="32" y="38"/>
                  </a:moveTo>
                  <a:cubicBezTo>
                    <a:pt x="0" y="63"/>
                    <a:pt x="80" y="225"/>
                    <a:pt x="135" y="208"/>
                  </a:cubicBezTo>
                  <a:cubicBezTo>
                    <a:pt x="191" y="190"/>
                    <a:pt x="80" y="0"/>
                    <a:pt x="32" y="38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2">
              <a:extLst>
                <a:ext uri="{FF2B5EF4-FFF2-40B4-BE49-F238E27FC236}">
                  <a16:creationId xmlns="" xmlns:a16="http://schemas.microsoft.com/office/drawing/2014/main" id="{7BD1CFAA-3832-4E6D-92D6-788B88902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0050" y="5834063"/>
              <a:ext cx="1719262" cy="304800"/>
            </a:xfrm>
            <a:custGeom>
              <a:avLst/>
              <a:gdLst>
                <a:gd name="T0" fmla="*/ 576 w 576"/>
                <a:gd name="T1" fmla="*/ 51 h 102"/>
                <a:gd name="T2" fmla="*/ 525 w 576"/>
                <a:gd name="T3" fmla="*/ 102 h 102"/>
                <a:gd name="T4" fmla="*/ 51 w 576"/>
                <a:gd name="T5" fmla="*/ 102 h 102"/>
                <a:gd name="T6" fmla="*/ 0 w 576"/>
                <a:gd name="T7" fmla="*/ 51 h 102"/>
                <a:gd name="T8" fmla="*/ 51 w 576"/>
                <a:gd name="T9" fmla="*/ 0 h 102"/>
                <a:gd name="T10" fmla="*/ 525 w 576"/>
                <a:gd name="T11" fmla="*/ 0 h 102"/>
                <a:gd name="T12" fmla="*/ 576 w 576"/>
                <a:gd name="T13" fmla="*/ 5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6" h="102">
                  <a:moveTo>
                    <a:pt x="576" y="51"/>
                  </a:moveTo>
                  <a:cubicBezTo>
                    <a:pt x="576" y="79"/>
                    <a:pt x="553" y="102"/>
                    <a:pt x="525" y="102"/>
                  </a:cubicBezTo>
                  <a:cubicBezTo>
                    <a:pt x="51" y="102"/>
                    <a:pt x="51" y="102"/>
                    <a:pt x="51" y="102"/>
                  </a:cubicBezTo>
                  <a:cubicBezTo>
                    <a:pt x="23" y="102"/>
                    <a:pt x="0" y="79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525" y="0"/>
                    <a:pt x="525" y="0"/>
                    <a:pt x="525" y="0"/>
                  </a:cubicBezTo>
                  <a:cubicBezTo>
                    <a:pt x="553" y="0"/>
                    <a:pt x="576" y="23"/>
                    <a:pt x="576" y="51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3">
              <a:extLst>
                <a:ext uri="{FF2B5EF4-FFF2-40B4-BE49-F238E27FC236}">
                  <a16:creationId xmlns="" xmlns:a16="http://schemas.microsoft.com/office/drawing/2014/main" id="{0554C8C9-167A-4218-9429-95A3C4A530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0400" y="3138488"/>
              <a:ext cx="2024063" cy="1905000"/>
            </a:xfrm>
            <a:custGeom>
              <a:avLst/>
              <a:gdLst>
                <a:gd name="T0" fmla="*/ 632 w 678"/>
                <a:gd name="T1" fmla="*/ 639 h 639"/>
                <a:gd name="T2" fmla="*/ 633 w 678"/>
                <a:gd name="T3" fmla="*/ 639 h 639"/>
                <a:gd name="T4" fmla="*/ 634 w 678"/>
                <a:gd name="T5" fmla="*/ 639 h 639"/>
                <a:gd name="T6" fmla="*/ 635 w 678"/>
                <a:gd name="T7" fmla="*/ 639 h 639"/>
                <a:gd name="T8" fmla="*/ 636 w 678"/>
                <a:gd name="T9" fmla="*/ 639 h 639"/>
                <a:gd name="T10" fmla="*/ 637 w 678"/>
                <a:gd name="T11" fmla="*/ 639 h 639"/>
                <a:gd name="T12" fmla="*/ 638 w 678"/>
                <a:gd name="T13" fmla="*/ 639 h 639"/>
                <a:gd name="T14" fmla="*/ 639 w 678"/>
                <a:gd name="T15" fmla="*/ 639 h 639"/>
                <a:gd name="T16" fmla="*/ 640 w 678"/>
                <a:gd name="T17" fmla="*/ 639 h 639"/>
                <a:gd name="T18" fmla="*/ 641 w 678"/>
                <a:gd name="T19" fmla="*/ 639 h 639"/>
                <a:gd name="T20" fmla="*/ 643 w 678"/>
                <a:gd name="T21" fmla="*/ 639 h 639"/>
                <a:gd name="T22" fmla="*/ 644 w 678"/>
                <a:gd name="T23" fmla="*/ 639 h 639"/>
                <a:gd name="T24" fmla="*/ 645 w 678"/>
                <a:gd name="T25" fmla="*/ 639 h 639"/>
                <a:gd name="T26" fmla="*/ 646 w 678"/>
                <a:gd name="T27" fmla="*/ 639 h 639"/>
                <a:gd name="T28" fmla="*/ 647 w 678"/>
                <a:gd name="T29" fmla="*/ 639 h 639"/>
                <a:gd name="T30" fmla="*/ 648 w 678"/>
                <a:gd name="T31" fmla="*/ 639 h 639"/>
                <a:gd name="T32" fmla="*/ 649 w 678"/>
                <a:gd name="T33" fmla="*/ 639 h 639"/>
                <a:gd name="T34" fmla="*/ 650 w 678"/>
                <a:gd name="T35" fmla="*/ 639 h 639"/>
                <a:gd name="T36" fmla="*/ 651 w 678"/>
                <a:gd name="T37" fmla="*/ 639 h 639"/>
                <a:gd name="T38" fmla="*/ 652 w 678"/>
                <a:gd name="T39" fmla="*/ 639 h 639"/>
                <a:gd name="T40" fmla="*/ 653 w 678"/>
                <a:gd name="T41" fmla="*/ 639 h 639"/>
                <a:gd name="T42" fmla="*/ 654 w 678"/>
                <a:gd name="T43" fmla="*/ 639 h 639"/>
                <a:gd name="T44" fmla="*/ 655 w 678"/>
                <a:gd name="T45" fmla="*/ 639 h 639"/>
                <a:gd name="T46" fmla="*/ 656 w 678"/>
                <a:gd name="T47" fmla="*/ 639 h 639"/>
                <a:gd name="T48" fmla="*/ 657 w 678"/>
                <a:gd name="T49" fmla="*/ 639 h 639"/>
                <a:gd name="T50" fmla="*/ 658 w 678"/>
                <a:gd name="T51" fmla="*/ 639 h 639"/>
                <a:gd name="T52" fmla="*/ 659 w 678"/>
                <a:gd name="T53" fmla="*/ 639 h 639"/>
                <a:gd name="T54" fmla="*/ 660 w 678"/>
                <a:gd name="T55" fmla="*/ 639 h 639"/>
                <a:gd name="T56" fmla="*/ 661 w 678"/>
                <a:gd name="T57" fmla="*/ 639 h 639"/>
                <a:gd name="T58" fmla="*/ 662 w 678"/>
                <a:gd name="T59" fmla="*/ 639 h 639"/>
                <a:gd name="T60" fmla="*/ 663 w 678"/>
                <a:gd name="T61" fmla="*/ 639 h 639"/>
                <a:gd name="T62" fmla="*/ 664 w 678"/>
                <a:gd name="T63" fmla="*/ 638 h 639"/>
                <a:gd name="T64" fmla="*/ 665 w 678"/>
                <a:gd name="T65" fmla="*/ 638 h 639"/>
                <a:gd name="T66" fmla="*/ 666 w 678"/>
                <a:gd name="T67" fmla="*/ 638 h 639"/>
                <a:gd name="T68" fmla="*/ 667 w 678"/>
                <a:gd name="T69" fmla="*/ 638 h 639"/>
                <a:gd name="T70" fmla="*/ 668 w 678"/>
                <a:gd name="T71" fmla="*/ 638 h 639"/>
                <a:gd name="T72" fmla="*/ 669 w 678"/>
                <a:gd name="T73" fmla="*/ 638 h 639"/>
                <a:gd name="T74" fmla="*/ 670 w 678"/>
                <a:gd name="T75" fmla="*/ 638 h 639"/>
                <a:gd name="T76" fmla="*/ 671 w 678"/>
                <a:gd name="T77" fmla="*/ 638 h 639"/>
                <a:gd name="T78" fmla="*/ 673 w 678"/>
                <a:gd name="T79" fmla="*/ 638 h 639"/>
                <a:gd name="T80" fmla="*/ 674 w 678"/>
                <a:gd name="T81" fmla="*/ 638 h 639"/>
                <a:gd name="T82" fmla="*/ 675 w 678"/>
                <a:gd name="T83" fmla="*/ 638 h 639"/>
                <a:gd name="T84" fmla="*/ 677 w 678"/>
                <a:gd name="T85" fmla="*/ 638 h 639"/>
                <a:gd name="T86" fmla="*/ 0 w 678"/>
                <a:gd name="T87" fmla="*/ 8 h 639"/>
                <a:gd name="T88" fmla="*/ 0 w 678"/>
                <a:gd name="T89" fmla="*/ 7 h 639"/>
                <a:gd name="T90" fmla="*/ 0 w 678"/>
                <a:gd name="T91" fmla="*/ 6 h 639"/>
                <a:gd name="T92" fmla="*/ 0 w 678"/>
                <a:gd name="T93" fmla="*/ 6 h 639"/>
                <a:gd name="T94" fmla="*/ 0 w 678"/>
                <a:gd name="T95" fmla="*/ 5 h 639"/>
                <a:gd name="T96" fmla="*/ 0 w 678"/>
                <a:gd name="T97" fmla="*/ 4 h 639"/>
                <a:gd name="T98" fmla="*/ 0 w 678"/>
                <a:gd name="T99" fmla="*/ 3 h 639"/>
                <a:gd name="T100" fmla="*/ 0 w 678"/>
                <a:gd name="T101" fmla="*/ 3 h 639"/>
                <a:gd name="T102" fmla="*/ 0 w 678"/>
                <a:gd name="T103" fmla="*/ 2 h 639"/>
                <a:gd name="T104" fmla="*/ 0 w 678"/>
                <a:gd name="T105" fmla="*/ 1 h 639"/>
                <a:gd name="T106" fmla="*/ 0 w 678"/>
                <a:gd name="T107" fmla="*/ 0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78" h="639">
                  <a:moveTo>
                    <a:pt x="631" y="639"/>
                  </a:moveTo>
                  <a:cubicBezTo>
                    <a:pt x="631" y="639"/>
                    <a:pt x="631" y="639"/>
                    <a:pt x="631" y="639"/>
                  </a:cubicBezTo>
                  <a:cubicBezTo>
                    <a:pt x="631" y="639"/>
                    <a:pt x="631" y="639"/>
                    <a:pt x="631" y="639"/>
                  </a:cubicBezTo>
                  <a:moveTo>
                    <a:pt x="632" y="639"/>
                  </a:moveTo>
                  <a:cubicBezTo>
                    <a:pt x="632" y="639"/>
                    <a:pt x="631" y="639"/>
                    <a:pt x="631" y="639"/>
                  </a:cubicBezTo>
                  <a:cubicBezTo>
                    <a:pt x="631" y="639"/>
                    <a:pt x="632" y="639"/>
                    <a:pt x="632" y="639"/>
                  </a:cubicBezTo>
                  <a:moveTo>
                    <a:pt x="632" y="639"/>
                  </a:moveTo>
                  <a:cubicBezTo>
                    <a:pt x="632" y="639"/>
                    <a:pt x="632" y="639"/>
                    <a:pt x="632" y="639"/>
                  </a:cubicBezTo>
                  <a:cubicBezTo>
                    <a:pt x="632" y="639"/>
                    <a:pt x="632" y="639"/>
                    <a:pt x="632" y="639"/>
                  </a:cubicBezTo>
                  <a:moveTo>
                    <a:pt x="633" y="639"/>
                  </a:moveTo>
                  <a:cubicBezTo>
                    <a:pt x="633" y="639"/>
                    <a:pt x="632" y="639"/>
                    <a:pt x="632" y="639"/>
                  </a:cubicBezTo>
                  <a:cubicBezTo>
                    <a:pt x="632" y="639"/>
                    <a:pt x="633" y="639"/>
                    <a:pt x="633" y="639"/>
                  </a:cubicBezTo>
                  <a:moveTo>
                    <a:pt x="633" y="639"/>
                  </a:moveTo>
                  <a:cubicBezTo>
                    <a:pt x="633" y="639"/>
                    <a:pt x="633" y="639"/>
                    <a:pt x="633" y="639"/>
                  </a:cubicBezTo>
                  <a:cubicBezTo>
                    <a:pt x="633" y="639"/>
                    <a:pt x="633" y="639"/>
                    <a:pt x="633" y="639"/>
                  </a:cubicBezTo>
                  <a:moveTo>
                    <a:pt x="634" y="639"/>
                  </a:moveTo>
                  <a:cubicBezTo>
                    <a:pt x="634" y="639"/>
                    <a:pt x="633" y="639"/>
                    <a:pt x="633" y="639"/>
                  </a:cubicBezTo>
                  <a:cubicBezTo>
                    <a:pt x="633" y="639"/>
                    <a:pt x="634" y="639"/>
                    <a:pt x="634" y="639"/>
                  </a:cubicBezTo>
                  <a:moveTo>
                    <a:pt x="634" y="639"/>
                  </a:moveTo>
                  <a:cubicBezTo>
                    <a:pt x="634" y="639"/>
                    <a:pt x="634" y="639"/>
                    <a:pt x="634" y="639"/>
                  </a:cubicBezTo>
                  <a:cubicBezTo>
                    <a:pt x="634" y="639"/>
                    <a:pt x="634" y="639"/>
                    <a:pt x="634" y="639"/>
                  </a:cubicBezTo>
                  <a:moveTo>
                    <a:pt x="635" y="639"/>
                  </a:moveTo>
                  <a:cubicBezTo>
                    <a:pt x="635" y="639"/>
                    <a:pt x="634" y="639"/>
                    <a:pt x="634" y="639"/>
                  </a:cubicBezTo>
                  <a:cubicBezTo>
                    <a:pt x="634" y="639"/>
                    <a:pt x="635" y="639"/>
                    <a:pt x="635" y="639"/>
                  </a:cubicBezTo>
                  <a:moveTo>
                    <a:pt x="635" y="639"/>
                  </a:moveTo>
                  <a:cubicBezTo>
                    <a:pt x="635" y="639"/>
                    <a:pt x="635" y="639"/>
                    <a:pt x="635" y="639"/>
                  </a:cubicBezTo>
                  <a:cubicBezTo>
                    <a:pt x="635" y="639"/>
                    <a:pt x="635" y="639"/>
                    <a:pt x="635" y="639"/>
                  </a:cubicBezTo>
                  <a:moveTo>
                    <a:pt x="636" y="639"/>
                  </a:moveTo>
                  <a:cubicBezTo>
                    <a:pt x="636" y="639"/>
                    <a:pt x="635" y="639"/>
                    <a:pt x="635" y="639"/>
                  </a:cubicBezTo>
                  <a:cubicBezTo>
                    <a:pt x="635" y="639"/>
                    <a:pt x="636" y="639"/>
                    <a:pt x="636" y="639"/>
                  </a:cubicBezTo>
                  <a:moveTo>
                    <a:pt x="637" y="639"/>
                  </a:moveTo>
                  <a:cubicBezTo>
                    <a:pt x="636" y="639"/>
                    <a:pt x="636" y="639"/>
                    <a:pt x="636" y="639"/>
                  </a:cubicBezTo>
                  <a:cubicBezTo>
                    <a:pt x="636" y="639"/>
                    <a:pt x="636" y="639"/>
                    <a:pt x="637" y="639"/>
                  </a:cubicBezTo>
                  <a:moveTo>
                    <a:pt x="637" y="639"/>
                  </a:moveTo>
                  <a:cubicBezTo>
                    <a:pt x="637" y="639"/>
                    <a:pt x="637" y="639"/>
                    <a:pt x="637" y="639"/>
                  </a:cubicBezTo>
                  <a:cubicBezTo>
                    <a:pt x="637" y="639"/>
                    <a:pt x="637" y="639"/>
                    <a:pt x="637" y="639"/>
                  </a:cubicBezTo>
                  <a:moveTo>
                    <a:pt x="638" y="639"/>
                  </a:moveTo>
                  <a:cubicBezTo>
                    <a:pt x="638" y="639"/>
                    <a:pt x="637" y="639"/>
                    <a:pt x="637" y="639"/>
                  </a:cubicBezTo>
                  <a:cubicBezTo>
                    <a:pt x="637" y="639"/>
                    <a:pt x="638" y="639"/>
                    <a:pt x="638" y="639"/>
                  </a:cubicBezTo>
                  <a:moveTo>
                    <a:pt x="638" y="639"/>
                  </a:moveTo>
                  <a:cubicBezTo>
                    <a:pt x="638" y="639"/>
                    <a:pt x="638" y="639"/>
                    <a:pt x="638" y="639"/>
                  </a:cubicBezTo>
                  <a:cubicBezTo>
                    <a:pt x="638" y="639"/>
                    <a:pt x="638" y="639"/>
                    <a:pt x="638" y="639"/>
                  </a:cubicBezTo>
                  <a:moveTo>
                    <a:pt x="639" y="639"/>
                  </a:moveTo>
                  <a:cubicBezTo>
                    <a:pt x="639" y="639"/>
                    <a:pt x="639" y="639"/>
                    <a:pt x="638" y="639"/>
                  </a:cubicBezTo>
                  <a:cubicBezTo>
                    <a:pt x="638" y="639"/>
                    <a:pt x="639" y="639"/>
                    <a:pt x="639" y="639"/>
                  </a:cubicBezTo>
                  <a:moveTo>
                    <a:pt x="639" y="639"/>
                  </a:moveTo>
                  <a:cubicBezTo>
                    <a:pt x="639" y="639"/>
                    <a:pt x="639" y="639"/>
                    <a:pt x="639" y="639"/>
                  </a:cubicBezTo>
                  <a:cubicBezTo>
                    <a:pt x="639" y="639"/>
                    <a:pt x="639" y="639"/>
                    <a:pt x="639" y="639"/>
                  </a:cubicBezTo>
                  <a:moveTo>
                    <a:pt x="640" y="639"/>
                  </a:moveTo>
                  <a:cubicBezTo>
                    <a:pt x="640" y="639"/>
                    <a:pt x="640" y="639"/>
                    <a:pt x="639" y="639"/>
                  </a:cubicBezTo>
                  <a:cubicBezTo>
                    <a:pt x="640" y="639"/>
                    <a:pt x="640" y="639"/>
                    <a:pt x="640" y="639"/>
                  </a:cubicBezTo>
                  <a:moveTo>
                    <a:pt x="640" y="639"/>
                  </a:moveTo>
                  <a:cubicBezTo>
                    <a:pt x="640" y="639"/>
                    <a:pt x="640" y="639"/>
                    <a:pt x="640" y="639"/>
                  </a:cubicBezTo>
                  <a:cubicBezTo>
                    <a:pt x="640" y="639"/>
                    <a:pt x="640" y="639"/>
                    <a:pt x="640" y="639"/>
                  </a:cubicBezTo>
                  <a:moveTo>
                    <a:pt x="641" y="639"/>
                  </a:moveTo>
                  <a:cubicBezTo>
                    <a:pt x="641" y="639"/>
                    <a:pt x="641" y="639"/>
                    <a:pt x="640" y="639"/>
                  </a:cubicBezTo>
                  <a:cubicBezTo>
                    <a:pt x="641" y="639"/>
                    <a:pt x="641" y="639"/>
                    <a:pt x="641" y="639"/>
                  </a:cubicBezTo>
                  <a:moveTo>
                    <a:pt x="641" y="639"/>
                  </a:moveTo>
                  <a:cubicBezTo>
                    <a:pt x="641" y="639"/>
                    <a:pt x="641" y="639"/>
                    <a:pt x="641" y="639"/>
                  </a:cubicBezTo>
                  <a:cubicBezTo>
                    <a:pt x="641" y="639"/>
                    <a:pt x="641" y="639"/>
                    <a:pt x="641" y="639"/>
                  </a:cubicBezTo>
                  <a:moveTo>
                    <a:pt x="642" y="639"/>
                  </a:moveTo>
                  <a:cubicBezTo>
                    <a:pt x="642" y="639"/>
                    <a:pt x="642" y="639"/>
                    <a:pt x="641" y="639"/>
                  </a:cubicBezTo>
                  <a:cubicBezTo>
                    <a:pt x="642" y="639"/>
                    <a:pt x="642" y="639"/>
                    <a:pt x="642" y="639"/>
                  </a:cubicBezTo>
                  <a:moveTo>
                    <a:pt x="643" y="639"/>
                  </a:moveTo>
                  <a:cubicBezTo>
                    <a:pt x="643" y="639"/>
                    <a:pt x="643" y="639"/>
                    <a:pt x="642" y="639"/>
                  </a:cubicBezTo>
                  <a:cubicBezTo>
                    <a:pt x="643" y="639"/>
                    <a:pt x="643" y="639"/>
                    <a:pt x="643" y="639"/>
                  </a:cubicBezTo>
                  <a:moveTo>
                    <a:pt x="643" y="639"/>
                  </a:moveTo>
                  <a:cubicBezTo>
                    <a:pt x="643" y="639"/>
                    <a:pt x="643" y="639"/>
                    <a:pt x="643" y="639"/>
                  </a:cubicBezTo>
                  <a:cubicBezTo>
                    <a:pt x="643" y="639"/>
                    <a:pt x="643" y="639"/>
                    <a:pt x="643" y="639"/>
                  </a:cubicBezTo>
                  <a:moveTo>
                    <a:pt x="644" y="639"/>
                  </a:moveTo>
                  <a:cubicBezTo>
                    <a:pt x="644" y="639"/>
                    <a:pt x="644" y="639"/>
                    <a:pt x="643" y="639"/>
                  </a:cubicBezTo>
                  <a:cubicBezTo>
                    <a:pt x="644" y="639"/>
                    <a:pt x="644" y="639"/>
                    <a:pt x="644" y="639"/>
                  </a:cubicBezTo>
                  <a:moveTo>
                    <a:pt x="644" y="639"/>
                  </a:moveTo>
                  <a:cubicBezTo>
                    <a:pt x="644" y="639"/>
                    <a:pt x="644" y="639"/>
                    <a:pt x="644" y="639"/>
                  </a:cubicBezTo>
                  <a:cubicBezTo>
                    <a:pt x="644" y="639"/>
                    <a:pt x="644" y="639"/>
                    <a:pt x="644" y="639"/>
                  </a:cubicBezTo>
                  <a:moveTo>
                    <a:pt x="645" y="639"/>
                  </a:moveTo>
                  <a:cubicBezTo>
                    <a:pt x="645" y="639"/>
                    <a:pt x="645" y="639"/>
                    <a:pt x="644" y="639"/>
                  </a:cubicBezTo>
                  <a:cubicBezTo>
                    <a:pt x="645" y="639"/>
                    <a:pt x="645" y="639"/>
                    <a:pt x="645" y="639"/>
                  </a:cubicBezTo>
                  <a:moveTo>
                    <a:pt x="645" y="639"/>
                  </a:moveTo>
                  <a:cubicBezTo>
                    <a:pt x="645" y="639"/>
                    <a:pt x="645" y="639"/>
                    <a:pt x="645" y="639"/>
                  </a:cubicBezTo>
                  <a:cubicBezTo>
                    <a:pt x="645" y="639"/>
                    <a:pt x="645" y="639"/>
                    <a:pt x="645" y="639"/>
                  </a:cubicBezTo>
                  <a:moveTo>
                    <a:pt x="646" y="639"/>
                  </a:moveTo>
                  <a:cubicBezTo>
                    <a:pt x="646" y="639"/>
                    <a:pt x="646" y="639"/>
                    <a:pt x="646" y="639"/>
                  </a:cubicBezTo>
                  <a:cubicBezTo>
                    <a:pt x="646" y="639"/>
                    <a:pt x="646" y="639"/>
                    <a:pt x="646" y="639"/>
                  </a:cubicBezTo>
                  <a:moveTo>
                    <a:pt x="646" y="639"/>
                  </a:moveTo>
                  <a:cubicBezTo>
                    <a:pt x="646" y="639"/>
                    <a:pt x="646" y="639"/>
                    <a:pt x="646" y="639"/>
                  </a:cubicBezTo>
                  <a:cubicBezTo>
                    <a:pt x="646" y="639"/>
                    <a:pt x="646" y="639"/>
                    <a:pt x="646" y="639"/>
                  </a:cubicBezTo>
                  <a:moveTo>
                    <a:pt x="647" y="639"/>
                  </a:moveTo>
                  <a:cubicBezTo>
                    <a:pt x="647" y="639"/>
                    <a:pt x="647" y="639"/>
                    <a:pt x="647" y="639"/>
                  </a:cubicBezTo>
                  <a:cubicBezTo>
                    <a:pt x="647" y="639"/>
                    <a:pt x="647" y="639"/>
                    <a:pt x="647" y="639"/>
                  </a:cubicBezTo>
                  <a:moveTo>
                    <a:pt x="647" y="639"/>
                  </a:moveTo>
                  <a:cubicBezTo>
                    <a:pt x="647" y="639"/>
                    <a:pt x="647" y="639"/>
                    <a:pt x="647" y="639"/>
                  </a:cubicBezTo>
                  <a:cubicBezTo>
                    <a:pt x="647" y="639"/>
                    <a:pt x="647" y="639"/>
                    <a:pt x="647" y="639"/>
                  </a:cubicBezTo>
                  <a:moveTo>
                    <a:pt x="648" y="639"/>
                  </a:moveTo>
                  <a:cubicBezTo>
                    <a:pt x="648" y="639"/>
                    <a:pt x="648" y="639"/>
                    <a:pt x="647" y="639"/>
                  </a:cubicBezTo>
                  <a:cubicBezTo>
                    <a:pt x="648" y="639"/>
                    <a:pt x="648" y="639"/>
                    <a:pt x="648" y="639"/>
                  </a:cubicBezTo>
                  <a:moveTo>
                    <a:pt x="648" y="639"/>
                  </a:moveTo>
                  <a:cubicBezTo>
                    <a:pt x="648" y="639"/>
                    <a:pt x="648" y="639"/>
                    <a:pt x="648" y="639"/>
                  </a:cubicBezTo>
                  <a:cubicBezTo>
                    <a:pt x="648" y="639"/>
                    <a:pt x="648" y="639"/>
                    <a:pt x="648" y="639"/>
                  </a:cubicBezTo>
                  <a:moveTo>
                    <a:pt x="649" y="639"/>
                  </a:moveTo>
                  <a:cubicBezTo>
                    <a:pt x="649" y="639"/>
                    <a:pt x="649" y="639"/>
                    <a:pt x="649" y="639"/>
                  </a:cubicBezTo>
                  <a:cubicBezTo>
                    <a:pt x="649" y="639"/>
                    <a:pt x="649" y="639"/>
                    <a:pt x="649" y="639"/>
                  </a:cubicBezTo>
                  <a:moveTo>
                    <a:pt x="649" y="639"/>
                  </a:moveTo>
                  <a:cubicBezTo>
                    <a:pt x="649" y="639"/>
                    <a:pt x="649" y="639"/>
                    <a:pt x="649" y="639"/>
                  </a:cubicBezTo>
                  <a:cubicBezTo>
                    <a:pt x="649" y="639"/>
                    <a:pt x="649" y="639"/>
                    <a:pt x="649" y="639"/>
                  </a:cubicBezTo>
                  <a:moveTo>
                    <a:pt x="650" y="639"/>
                  </a:moveTo>
                  <a:cubicBezTo>
                    <a:pt x="650" y="639"/>
                    <a:pt x="650" y="639"/>
                    <a:pt x="650" y="639"/>
                  </a:cubicBezTo>
                  <a:cubicBezTo>
                    <a:pt x="650" y="639"/>
                    <a:pt x="650" y="639"/>
                    <a:pt x="650" y="639"/>
                  </a:cubicBezTo>
                  <a:moveTo>
                    <a:pt x="650" y="639"/>
                  </a:moveTo>
                  <a:cubicBezTo>
                    <a:pt x="650" y="639"/>
                    <a:pt x="650" y="639"/>
                    <a:pt x="650" y="639"/>
                  </a:cubicBezTo>
                  <a:cubicBezTo>
                    <a:pt x="650" y="639"/>
                    <a:pt x="650" y="639"/>
                    <a:pt x="650" y="639"/>
                  </a:cubicBezTo>
                  <a:moveTo>
                    <a:pt x="651" y="639"/>
                  </a:moveTo>
                  <a:cubicBezTo>
                    <a:pt x="651" y="639"/>
                    <a:pt x="651" y="639"/>
                    <a:pt x="651" y="639"/>
                  </a:cubicBezTo>
                  <a:cubicBezTo>
                    <a:pt x="651" y="639"/>
                    <a:pt x="651" y="639"/>
                    <a:pt x="651" y="639"/>
                  </a:cubicBezTo>
                  <a:moveTo>
                    <a:pt x="651" y="639"/>
                  </a:moveTo>
                  <a:cubicBezTo>
                    <a:pt x="651" y="639"/>
                    <a:pt x="651" y="639"/>
                    <a:pt x="651" y="639"/>
                  </a:cubicBezTo>
                  <a:cubicBezTo>
                    <a:pt x="651" y="639"/>
                    <a:pt x="651" y="639"/>
                    <a:pt x="651" y="639"/>
                  </a:cubicBezTo>
                  <a:moveTo>
                    <a:pt x="652" y="639"/>
                  </a:moveTo>
                  <a:cubicBezTo>
                    <a:pt x="652" y="639"/>
                    <a:pt x="652" y="639"/>
                    <a:pt x="652" y="639"/>
                  </a:cubicBezTo>
                  <a:cubicBezTo>
                    <a:pt x="652" y="639"/>
                    <a:pt x="652" y="639"/>
                    <a:pt x="652" y="639"/>
                  </a:cubicBezTo>
                  <a:moveTo>
                    <a:pt x="652" y="639"/>
                  </a:moveTo>
                  <a:cubicBezTo>
                    <a:pt x="652" y="639"/>
                    <a:pt x="652" y="639"/>
                    <a:pt x="652" y="639"/>
                  </a:cubicBezTo>
                  <a:cubicBezTo>
                    <a:pt x="652" y="639"/>
                    <a:pt x="652" y="639"/>
                    <a:pt x="652" y="639"/>
                  </a:cubicBezTo>
                  <a:moveTo>
                    <a:pt x="653" y="639"/>
                  </a:moveTo>
                  <a:cubicBezTo>
                    <a:pt x="653" y="639"/>
                    <a:pt x="653" y="639"/>
                    <a:pt x="653" y="639"/>
                  </a:cubicBezTo>
                  <a:cubicBezTo>
                    <a:pt x="653" y="639"/>
                    <a:pt x="653" y="639"/>
                    <a:pt x="653" y="639"/>
                  </a:cubicBezTo>
                  <a:moveTo>
                    <a:pt x="653" y="639"/>
                  </a:moveTo>
                  <a:cubicBezTo>
                    <a:pt x="653" y="639"/>
                    <a:pt x="653" y="639"/>
                    <a:pt x="653" y="639"/>
                  </a:cubicBezTo>
                  <a:cubicBezTo>
                    <a:pt x="653" y="639"/>
                    <a:pt x="653" y="639"/>
                    <a:pt x="653" y="639"/>
                  </a:cubicBezTo>
                  <a:moveTo>
                    <a:pt x="654" y="639"/>
                  </a:moveTo>
                  <a:cubicBezTo>
                    <a:pt x="654" y="639"/>
                    <a:pt x="654" y="639"/>
                    <a:pt x="654" y="639"/>
                  </a:cubicBezTo>
                  <a:cubicBezTo>
                    <a:pt x="654" y="639"/>
                    <a:pt x="654" y="639"/>
                    <a:pt x="654" y="639"/>
                  </a:cubicBezTo>
                  <a:moveTo>
                    <a:pt x="654" y="639"/>
                  </a:moveTo>
                  <a:cubicBezTo>
                    <a:pt x="654" y="639"/>
                    <a:pt x="654" y="639"/>
                    <a:pt x="654" y="639"/>
                  </a:cubicBezTo>
                  <a:cubicBezTo>
                    <a:pt x="654" y="639"/>
                    <a:pt x="654" y="639"/>
                    <a:pt x="654" y="639"/>
                  </a:cubicBezTo>
                  <a:moveTo>
                    <a:pt x="655" y="639"/>
                  </a:moveTo>
                  <a:cubicBezTo>
                    <a:pt x="655" y="639"/>
                    <a:pt x="655" y="639"/>
                    <a:pt x="655" y="639"/>
                  </a:cubicBezTo>
                  <a:cubicBezTo>
                    <a:pt x="655" y="639"/>
                    <a:pt x="655" y="639"/>
                    <a:pt x="655" y="639"/>
                  </a:cubicBezTo>
                  <a:moveTo>
                    <a:pt x="656" y="639"/>
                  </a:moveTo>
                  <a:cubicBezTo>
                    <a:pt x="655" y="639"/>
                    <a:pt x="655" y="639"/>
                    <a:pt x="655" y="639"/>
                  </a:cubicBezTo>
                  <a:cubicBezTo>
                    <a:pt x="655" y="639"/>
                    <a:pt x="655" y="639"/>
                    <a:pt x="656" y="639"/>
                  </a:cubicBezTo>
                  <a:moveTo>
                    <a:pt x="656" y="639"/>
                  </a:moveTo>
                  <a:cubicBezTo>
                    <a:pt x="656" y="639"/>
                    <a:pt x="656" y="639"/>
                    <a:pt x="656" y="639"/>
                  </a:cubicBezTo>
                  <a:cubicBezTo>
                    <a:pt x="656" y="639"/>
                    <a:pt x="656" y="639"/>
                    <a:pt x="656" y="639"/>
                  </a:cubicBezTo>
                  <a:moveTo>
                    <a:pt x="657" y="639"/>
                  </a:moveTo>
                  <a:cubicBezTo>
                    <a:pt x="656" y="639"/>
                    <a:pt x="656" y="639"/>
                    <a:pt x="656" y="639"/>
                  </a:cubicBezTo>
                  <a:cubicBezTo>
                    <a:pt x="656" y="639"/>
                    <a:pt x="656" y="639"/>
                    <a:pt x="657" y="639"/>
                  </a:cubicBezTo>
                  <a:moveTo>
                    <a:pt x="657" y="639"/>
                  </a:moveTo>
                  <a:cubicBezTo>
                    <a:pt x="657" y="639"/>
                    <a:pt x="657" y="639"/>
                    <a:pt x="657" y="639"/>
                  </a:cubicBezTo>
                  <a:cubicBezTo>
                    <a:pt x="657" y="639"/>
                    <a:pt x="657" y="639"/>
                    <a:pt x="657" y="639"/>
                  </a:cubicBezTo>
                  <a:moveTo>
                    <a:pt x="657" y="639"/>
                  </a:moveTo>
                  <a:cubicBezTo>
                    <a:pt x="657" y="639"/>
                    <a:pt x="657" y="639"/>
                    <a:pt x="657" y="639"/>
                  </a:cubicBezTo>
                  <a:cubicBezTo>
                    <a:pt x="657" y="639"/>
                    <a:pt x="657" y="639"/>
                    <a:pt x="657" y="639"/>
                  </a:cubicBezTo>
                  <a:moveTo>
                    <a:pt x="658" y="639"/>
                  </a:moveTo>
                  <a:cubicBezTo>
                    <a:pt x="658" y="639"/>
                    <a:pt x="658" y="639"/>
                    <a:pt x="658" y="639"/>
                  </a:cubicBezTo>
                  <a:cubicBezTo>
                    <a:pt x="658" y="639"/>
                    <a:pt x="658" y="639"/>
                    <a:pt x="658" y="639"/>
                  </a:cubicBezTo>
                  <a:moveTo>
                    <a:pt x="658" y="639"/>
                  </a:moveTo>
                  <a:cubicBezTo>
                    <a:pt x="658" y="639"/>
                    <a:pt x="658" y="639"/>
                    <a:pt x="658" y="639"/>
                  </a:cubicBezTo>
                  <a:cubicBezTo>
                    <a:pt x="658" y="639"/>
                    <a:pt x="658" y="639"/>
                    <a:pt x="658" y="639"/>
                  </a:cubicBezTo>
                  <a:moveTo>
                    <a:pt x="659" y="639"/>
                  </a:moveTo>
                  <a:cubicBezTo>
                    <a:pt x="659" y="639"/>
                    <a:pt x="659" y="639"/>
                    <a:pt x="659" y="639"/>
                  </a:cubicBezTo>
                  <a:cubicBezTo>
                    <a:pt x="659" y="639"/>
                    <a:pt x="659" y="639"/>
                    <a:pt x="659" y="639"/>
                  </a:cubicBezTo>
                  <a:moveTo>
                    <a:pt x="659" y="639"/>
                  </a:moveTo>
                  <a:cubicBezTo>
                    <a:pt x="659" y="639"/>
                    <a:pt x="659" y="639"/>
                    <a:pt x="659" y="639"/>
                  </a:cubicBezTo>
                  <a:cubicBezTo>
                    <a:pt x="659" y="639"/>
                    <a:pt x="659" y="639"/>
                    <a:pt x="659" y="639"/>
                  </a:cubicBezTo>
                  <a:moveTo>
                    <a:pt x="660" y="639"/>
                  </a:moveTo>
                  <a:cubicBezTo>
                    <a:pt x="660" y="639"/>
                    <a:pt x="660" y="639"/>
                    <a:pt x="660" y="639"/>
                  </a:cubicBezTo>
                  <a:cubicBezTo>
                    <a:pt x="660" y="639"/>
                    <a:pt x="660" y="639"/>
                    <a:pt x="660" y="639"/>
                  </a:cubicBezTo>
                  <a:moveTo>
                    <a:pt x="660" y="639"/>
                  </a:moveTo>
                  <a:cubicBezTo>
                    <a:pt x="660" y="639"/>
                    <a:pt x="660" y="639"/>
                    <a:pt x="660" y="639"/>
                  </a:cubicBezTo>
                  <a:cubicBezTo>
                    <a:pt x="660" y="639"/>
                    <a:pt x="660" y="639"/>
                    <a:pt x="660" y="639"/>
                  </a:cubicBezTo>
                  <a:moveTo>
                    <a:pt x="661" y="639"/>
                  </a:moveTo>
                  <a:cubicBezTo>
                    <a:pt x="661" y="639"/>
                    <a:pt x="661" y="639"/>
                    <a:pt x="661" y="639"/>
                  </a:cubicBezTo>
                  <a:cubicBezTo>
                    <a:pt x="661" y="639"/>
                    <a:pt x="661" y="639"/>
                    <a:pt x="661" y="639"/>
                  </a:cubicBezTo>
                  <a:moveTo>
                    <a:pt x="661" y="639"/>
                  </a:moveTo>
                  <a:cubicBezTo>
                    <a:pt x="661" y="639"/>
                    <a:pt x="661" y="639"/>
                    <a:pt x="661" y="639"/>
                  </a:cubicBezTo>
                  <a:cubicBezTo>
                    <a:pt x="661" y="639"/>
                    <a:pt x="661" y="639"/>
                    <a:pt x="661" y="639"/>
                  </a:cubicBezTo>
                  <a:moveTo>
                    <a:pt x="662" y="639"/>
                  </a:moveTo>
                  <a:cubicBezTo>
                    <a:pt x="662" y="639"/>
                    <a:pt x="662" y="639"/>
                    <a:pt x="662" y="639"/>
                  </a:cubicBezTo>
                  <a:cubicBezTo>
                    <a:pt x="662" y="639"/>
                    <a:pt x="662" y="639"/>
                    <a:pt x="662" y="639"/>
                  </a:cubicBezTo>
                  <a:moveTo>
                    <a:pt x="662" y="639"/>
                  </a:moveTo>
                  <a:cubicBezTo>
                    <a:pt x="662" y="639"/>
                    <a:pt x="662" y="639"/>
                    <a:pt x="662" y="639"/>
                  </a:cubicBezTo>
                  <a:cubicBezTo>
                    <a:pt x="662" y="639"/>
                    <a:pt x="662" y="639"/>
                    <a:pt x="662" y="639"/>
                  </a:cubicBezTo>
                  <a:moveTo>
                    <a:pt x="663" y="639"/>
                  </a:moveTo>
                  <a:cubicBezTo>
                    <a:pt x="663" y="639"/>
                    <a:pt x="663" y="639"/>
                    <a:pt x="663" y="639"/>
                  </a:cubicBezTo>
                  <a:cubicBezTo>
                    <a:pt x="663" y="639"/>
                    <a:pt x="663" y="639"/>
                    <a:pt x="663" y="639"/>
                  </a:cubicBezTo>
                  <a:moveTo>
                    <a:pt x="663" y="638"/>
                  </a:moveTo>
                  <a:cubicBezTo>
                    <a:pt x="663" y="639"/>
                    <a:pt x="663" y="639"/>
                    <a:pt x="663" y="639"/>
                  </a:cubicBezTo>
                  <a:cubicBezTo>
                    <a:pt x="663" y="639"/>
                    <a:pt x="663" y="638"/>
                    <a:pt x="663" y="638"/>
                  </a:cubicBezTo>
                  <a:moveTo>
                    <a:pt x="664" y="638"/>
                  </a:moveTo>
                  <a:cubicBezTo>
                    <a:pt x="664" y="638"/>
                    <a:pt x="664" y="638"/>
                    <a:pt x="664" y="638"/>
                  </a:cubicBezTo>
                  <a:cubicBezTo>
                    <a:pt x="664" y="638"/>
                    <a:pt x="664" y="638"/>
                    <a:pt x="664" y="638"/>
                  </a:cubicBezTo>
                  <a:moveTo>
                    <a:pt x="665" y="638"/>
                  </a:moveTo>
                  <a:cubicBezTo>
                    <a:pt x="664" y="638"/>
                    <a:pt x="664" y="638"/>
                    <a:pt x="664" y="638"/>
                  </a:cubicBezTo>
                  <a:cubicBezTo>
                    <a:pt x="664" y="638"/>
                    <a:pt x="664" y="638"/>
                    <a:pt x="665" y="638"/>
                  </a:cubicBezTo>
                  <a:moveTo>
                    <a:pt x="665" y="638"/>
                  </a:moveTo>
                  <a:cubicBezTo>
                    <a:pt x="665" y="638"/>
                    <a:pt x="665" y="638"/>
                    <a:pt x="665" y="638"/>
                  </a:cubicBezTo>
                  <a:cubicBezTo>
                    <a:pt x="665" y="638"/>
                    <a:pt x="665" y="638"/>
                    <a:pt x="665" y="638"/>
                  </a:cubicBezTo>
                  <a:moveTo>
                    <a:pt x="666" y="638"/>
                  </a:moveTo>
                  <a:cubicBezTo>
                    <a:pt x="665" y="638"/>
                    <a:pt x="665" y="638"/>
                    <a:pt x="665" y="638"/>
                  </a:cubicBezTo>
                  <a:cubicBezTo>
                    <a:pt x="665" y="638"/>
                    <a:pt x="665" y="638"/>
                    <a:pt x="666" y="638"/>
                  </a:cubicBezTo>
                  <a:moveTo>
                    <a:pt x="666" y="638"/>
                  </a:moveTo>
                  <a:cubicBezTo>
                    <a:pt x="666" y="638"/>
                    <a:pt x="666" y="638"/>
                    <a:pt x="666" y="638"/>
                  </a:cubicBezTo>
                  <a:cubicBezTo>
                    <a:pt x="666" y="638"/>
                    <a:pt x="666" y="638"/>
                    <a:pt x="666" y="638"/>
                  </a:cubicBezTo>
                  <a:moveTo>
                    <a:pt x="667" y="638"/>
                  </a:moveTo>
                  <a:cubicBezTo>
                    <a:pt x="666" y="638"/>
                    <a:pt x="666" y="638"/>
                    <a:pt x="666" y="638"/>
                  </a:cubicBezTo>
                  <a:cubicBezTo>
                    <a:pt x="666" y="638"/>
                    <a:pt x="666" y="638"/>
                    <a:pt x="667" y="638"/>
                  </a:cubicBezTo>
                  <a:moveTo>
                    <a:pt x="667" y="638"/>
                  </a:moveTo>
                  <a:cubicBezTo>
                    <a:pt x="667" y="638"/>
                    <a:pt x="667" y="638"/>
                    <a:pt x="667" y="638"/>
                  </a:cubicBezTo>
                  <a:cubicBezTo>
                    <a:pt x="667" y="638"/>
                    <a:pt x="667" y="638"/>
                    <a:pt x="667" y="638"/>
                  </a:cubicBezTo>
                  <a:moveTo>
                    <a:pt x="667" y="638"/>
                  </a:moveTo>
                  <a:cubicBezTo>
                    <a:pt x="667" y="638"/>
                    <a:pt x="667" y="638"/>
                    <a:pt x="667" y="638"/>
                  </a:cubicBezTo>
                  <a:cubicBezTo>
                    <a:pt x="667" y="638"/>
                    <a:pt x="667" y="638"/>
                    <a:pt x="667" y="638"/>
                  </a:cubicBezTo>
                  <a:moveTo>
                    <a:pt x="668" y="638"/>
                  </a:moveTo>
                  <a:cubicBezTo>
                    <a:pt x="668" y="638"/>
                    <a:pt x="668" y="638"/>
                    <a:pt x="668" y="638"/>
                  </a:cubicBezTo>
                  <a:cubicBezTo>
                    <a:pt x="668" y="638"/>
                    <a:pt x="668" y="638"/>
                    <a:pt x="668" y="638"/>
                  </a:cubicBezTo>
                  <a:moveTo>
                    <a:pt x="668" y="638"/>
                  </a:moveTo>
                  <a:cubicBezTo>
                    <a:pt x="668" y="638"/>
                    <a:pt x="668" y="638"/>
                    <a:pt x="668" y="638"/>
                  </a:cubicBezTo>
                  <a:cubicBezTo>
                    <a:pt x="668" y="638"/>
                    <a:pt x="668" y="638"/>
                    <a:pt x="668" y="638"/>
                  </a:cubicBezTo>
                  <a:moveTo>
                    <a:pt x="669" y="638"/>
                  </a:moveTo>
                  <a:cubicBezTo>
                    <a:pt x="669" y="638"/>
                    <a:pt x="669" y="638"/>
                    <a:pt x="669" y="638"/>
                  </a:cubicBezTo>
                  <a:cubicBezTo>
                    <a:pt x="669" y="638"/>
                    <a:pt x="669" y="638"/>
                    <a:pt x="669" y="638"/>
                  </a:cubicBezTo>
                  <a:moveTo>
                    <a:pt x="669" y="638"/>
                  </a:moveTo>
                  <a:cubicBezTo>
                    <a:pt x="669" y="638"/>
                    <a:pt x="669" y="638"/>
                    <a:pt x="669" y="638"/>
                  </a:cubicBezTo>
                  <a:cubicBezTo>
                    <a:pt x="669" y="638"/>
                    <a:pt x="669" y="638"/>
                    <a:pt x="669" y="638"/>
                  </a:cubicBezTo>
                  <a:moveTo>
                    <a:pt x="670" y="638"/>
                  </a:moveTo>
                  <a:cubicBezTo>
                    <a:pt x="670" y="638"/>
                    <a:pt x="670" y="638"/>
                    <a:pt x="670" y="638"/>
                  </a:cubicBezTo>
                  <a:cubicBezTo>
                    <a:pt x="670" y="638"/>
                    <a:pt x="670" y="638"/>
                    <a:pt x="670" y="638"/>
                  </a:cubicBezTo>
                  <a:moveTo>
                    <a:pt x="670" y="638"/>
                  </a:moveTo>
                  <a:cubicBezTo>
                    <a:pt x="670" y="638"/>
                    <a:pt x="670" y="638"/>
                    <a:pt x="670" y="638"/>
                  </a:cubicBezTo>
                  <a:cubicBezTo>
                    <a:pt x="670" y="638"/>
                    <a:pt x="670" y="638"/>
                    <a:pt x="670" y="638"/>
                  </a:cubicBezTo>
                  <a:moveTo>
                    <a:pt x="671" y="638"/>
                  </a:moveTo>
                  <a:cubicBezTo>
                    <a:pt x="671" y="638"/>
                    <a:pt x="671" y="638"/>
                    <a:pt x="671" y="638"/>
                  </a:cubicBezTo>
                  <a:cubicBezTo>
                    <a:pt x="671" y="638"/>
                    <a:pt x="671" y="638"/>
                    <a:pt x="671" y="638"/>
                  </a:cubicBezTo>
                  <a:moveTo>
                    <a:pt x="673" y="638"/>
                  </a:moveTo>
                  <a:cubicBezTo>
                    <a:pt x="672" y="638"/>
                    <a:pt x="672" y="638"/>
                    <a:pt x="672" y="638"/>
                  </a:cubicBezTo>
                  <a:cubicBezTo>
                    <a:pt x="672" y="638"/>
                    <a:pt x="672" y="638"/>
                    <a:pt x="673" y="638"/>
                  </a:cubicBezTo>
                  <a:moveTo>
                    <a:pt x="673" y="638"/>
                  </a:moveTo>
                  <a:cubicBezTo>
                    <a:pt x="673" y="638"/>
                    <a:pt x="673" y="638"/>
                    <a:pt x="673" y="638"/>
                  </a:cubicBezTo>
                  <a:cubicBezTo>
                    <a:pt x="673" y="638"/>
                    <a:pt x="673" y="638"/>
                    <a:pt x="673" y="638"/>
                  </a:cubicBezTo>
                  <a:moveTo>
                    <a:pt x="674" y="638"/>
                  </a:moveTo>
                  <a:cubicBezTo>
                    <a:pt x="673" y="638"/>
                    <a:pt x="673" y="638"/>
                    <a:pt x="673" y="638"/>
                  </a:cubicBezTo>
                  <a:cubicBezTo>
                    <a:pt x="673" y="638"/>
                    <a:pt x="673" y="638"/>
                    <a:pt x="674" y="638"/>
                  </a:cubicBezTo>
                  <a:moveTo>
                    <a:pt x="674" y="638"/>
                  </a:moveTo>
                  <a:cubicBezTo>
                    <a:pt x="674" y="638"/>
                    <a:pt x="674" y="638"/>
                    <a:pt x="674" y="638"/>
                  </a:cubicBezTo>
                  <a:cubicBezTo>
                    <a:pt x="674" y="638"/>
                    <a:pt x="674" y="638"/>
                    <a:pt x="674" y="638"/>
                  </a:cubicBezTo>
                  <a:moveTo>
                    <a:pt x="675" y="638"/>
                  </a:moveTo>
                  <a:cubicBezTo>
                    <a:pt x="675" y="638"/>
                    <a:pt x="674" y="638"/>
                    <a:pt x="674" y="638"/>
                  </a:cubicBezTo>
                  <a:cubicBezTo>
                    <a:pt x="674" y="638"/>
                    <a:pt x="675" y="638"/>
                    <a:pt x="675" y="638"/>
                  </a:cubicBezTo>
                  <a:moveTo>
                    <a:pt x="675" y="638"/>
                  </a:moveTo>
                  <a:cubicBezTo>
                    <a:pt x="675" y="638"/>
                    <a:pt x="675" y="638"/>
                    <a:pt x="675" y="638"/>
                  </a:cubicBezTo>
                  <a:cubicBezTo>
                    <a:pt x="675" y="638"/>
                    <a:pt x="675" y="638"/>
                    <a:pt x="675" y="638"/>
                  </a:cubicBezTo>
                  <a:moveTo>
                    <a:pt x="676" y="638"/>
                  </a:moveTo>
                  <a:cubicBezTo>
                    <a:pt x="676" y="638"/>
                    <a:pt x="676" y="638"/>
                    <a:pt x="676" y="638"/>
                  </a:cubicBezTo>
                  <a:cubicBezTo>
                    <a:pt x="676" y="638"/>
                    <a:pt x="676" y="638"/>
                    <a:pt x="676" y="638"/>
                  </a:cubicBezTo>
                  <a:moveTo>
                    <a:pt x="677" y="638"/>
                  </a:moveTo>
                  <a:cubicBezTo>
                    <a:pt x="677" y="638"/>
                    <a:pt x="677" y="638"/>
                    <a:pt x="677" y="638"/>
                  </a:cubicBezTo>
                  <a:cubicBezTo>
                    <a:pt x="677" y="638"/>
                    <a:pt x="677" y="638"/>
                    <a:pt x="677" y="638"/>
                  </a:cubicBezTo>
                  <a:moveTo>
                    <a:pt x="678" y="638"/>
                  </a:moveTo>
                  <a:cubicBezTo>
                    <a:pt x="678" y="638"/>
                    <a:pt x="678" y="638"/>
                    <a:pt x="678" y="638"/>
                  </a:cubicBezTo>
                  <a:cubicBezTo>
                    <a:pt x="678" y="638"/>
                    <a:pt x="678" y="638"/>
                    <a:pt x="678" y="638"/>
                  </a:cubicBezTo>
                  <a:moveTo>
                    <a:pt x="0" y="8"/>
                  </a:moveTo>
                  <a:cubicBezTo>
                    <a:pt x="0" y="8"/>
                    <a:pt x="0" y="8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moveTo>
                    <a:pt x="0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EEC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4">
              <a:extLst>
                <a:ext uri="{FF2B5EF4-FFF2-40B4-BE49-F238E27FC236}">
                  <a16:creationId xmlns="" xmlns:a16="http://schemas.microsoft.com/office/drawing/2014/main" id="{F9B0144D-8171-4EA0-B0BE-12BFC3149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0400" y="1790701"/>
              <a:ext cx="3538538" cy="3252788"/>
            </a:xfrm>
            <a:custGeom>
              <a:avLst/>
              <a:gdLst>
                <a:gd name="T0" fmla="*/ 632 w 1185"/>
                <a:gd name="T1" fmla="*/ 1091 h 1091"/>
                <a:gd name="T2" fmla="*/ 635 w 1185"/>
                <a:gd name="T3" fmla="*/ 1091 h 1091"/>
                <a:gd name="T4" fmla="*/ 637 w 1185"/>
                <a:gd name="T5" fmla="*/ 1091 h 1091"/>
                <a:gd name="T6" fmla="*/ 640 w 1185"/>
                <a:gd name="T7" fmla="*/ 1091 h 1091"/>
                <a:gd name="T8" fmla="*/ 642 w 1185"/>
                <a:gd name="T9" fmla="*/ 1091 h 1091"/>
                <a:gd name="T10" fmla="*/ 645 w 1185"/>
                <a:gd name="T11" fmla="*/ 1091 h 1091"/>
                <a:gd name="T12" fmla="*/ 647 w 1185"/>
                <a:gd name="T13" fmla="*/ 1091 h 1091"/>
                <a:gd name="T14" fmla="*/ 649 w 1185"/>
                <a:gd name="T15" fmla="*/ 1091 h 1091"/>
                <a:gd name="T16" fmla="*/ 652 w 1185"/>
                <a:gd name="T17" fmla="*/ 1091 h 1091"/>
                <a:gd name="T18" fmla="*/ 654 w 1185"/>
                <a:gd name="T19" fmla="*/ 1091 h 1091"/>
                <a:gd name="T20" fmla="*/ 656 w 1185"/>
                <a:gd name="T21" fmla="*/ 1091 h 1091"/>
                <a:gd name="T22" fmla="*/ 658 w 1185"/>
                <a:gd name="T23" fmla="*/ 1091 h 1091"/>
                <a:gd name="T24" fmla="*/ 661 w 1185"/>
                <a:gd name="T25" fmla="*/ 1091 h 1091"/>
                <a:gd name="T26" fmla="*/ 663 w 1185"/>
                <a:gd name="T27" fmla="*/ 1091 h 1091"/>
                <a:gd name="T28" fmla="*/ 665 w 1185"/>
                <a:gd name="T29" fmla="*/ 1090 h 1091"/>
                <a:gd name="T30" fmla="*/ 667 w 1185"/>
                <a:gd name="T31" fmla="*/ 1090 h 1091"/>
                <a:gd name="T32" fmla="*/ 670 w 1185"/>
                <a:gd name="T33" fmla="*/ 1090 h 1091"/>
                <a:gd name="T34" fmla="*/ 673 w 1185"/>
                <a:gd name="T35" fmla="*/ 1090 h 1091"/>
                <a:gd name="T36" fmla="*/ 676 w 1185"/>
                <a:gd name="T37" fmla="*/ 1090 h 1091"/>
                <a:gd name="T38" fmla="*/ 888 w 1185"/>
                <a:gd name="T39" fmla="*/ 917 h 1091"/>
                <a:gd name="T40" fmla="*/ 1 w 1185"/>
                <a:gd name="T41" fmla="*/ 483 h 1091"/>
                <a:gd name="T42" fmla="*/ 1 w 1185"/>
                <a:gd name="T43" fmla="*/ 479 h 1091"/>
                <a:gd name="T44" fmla="*/ 1 w 1185"/>
                <a:gd name="T45" fmla="*/ 478 h 1091"/>
                <a:gd name="T46" fmla="*/ 1 w 1185"/>
                <a:gd name="T47" fmla="*/ 476 h 1091"/>
                <a:gd name="T48" fmla="*/ 1 w 1185"/>
                <a:gd name="T49" fmla="*/ 475 h 1091"/>
                <a:gd name="T50" fmla="*/ 1 w 1185"/>
                <a:gd name="T51" fmla="*/ 474 h 1091"/>
                <a:gd name="T52" fmla="*/ 0 w 1185"/>
                <a:gd name="T53" fmla="*/ 473 h 1091"/>
                <a:gd name="T54" fmla="*/ 0 w 1185"/>
                <a:gd name="T55" fmla="*/ 472 h 1091"/>
                <a:gd name="T56" fmla="*/ 0 w 1185"/>
                <a:gd name="T57" fmla="*/ 471 h 1091"/>
                <a:gd name="T58" fmla="*/ 0 w 1185"/>
                <a:gd name="T59" fmla="*/ 469 h 1091"/>
                <a:gd name="T60" fmla="*/ 0 w 1185"/>
                <a:gd name="T61" fmla="*/ 468 h 1091"/>
                <a:gd name="T62" fmla="*/ 0 w 1185"/>
                <a:gd name="T63" fmla="*/ 467 h 1091"/>
                <a:gd name="T64" fmla="*/ 0 w 1185"/>
                <a:gd name="T65" fmla="*/ 465 h 1091"/>
                <a:gd name="T66" fmla="*/ 0 w 1185"/>
                <a:gd name="T67" fmla="*/ 464 h 1091"/>
                <a:gd name="T68" fmla="*/ 0 w 1185"/>
                <a:gd name="T69" fmla="*/ 463 h 1091"/>
                <a:gd name="T70" fmla="*/ 0 w 1185"/>
                <a:gd name="T71" fmla="*/ 461 h 1091"/>
                <a:gd name="T72" fmla="*/ 0 w 1185"/>
                <a:gd name="T73" fmla="*/ 458 h 1091"/>
                <a:gd name="T74" fmla="*/ 0 w 1185"/>
                <a:gd name="T75" fmla="*/ 457 h 1091"/>
                <a:gd name="T76" fmla="*/ 0 w 1185"/>
                <a:gd name="T77" fmla="*/ 456 h 1091"/>
                <a:gd name="T78" fmla="*/ 0 w 1185"/>
                <a:gd name="T79" fmla="*/ 455 h 1091"/>
                <a:gd name="T80" fmla="*/ 0 w 1185"/>
                <a:gd name="T81" fmla="*/ 454 h 1091"/>
                <a:gd name="T82" fmla="*/ 0 w 1185"/>
                <a:gd name="T83" fmla="*/ 453 h 1091"/>
                <a:gd name="T84" fmla="*/ 0 w 1185"/>
                <a:gd name="T85" fmla="*/ 451 h 1091"/>
                <a:gd name="T86" fmla="*/ 0 w 1185"/>
                <a:gd name="T87" fmla="*/ 450 h 1091"/>
                <a:gd name="T88" fmla="*/ 1 w 1185"/>
                <a:gd name="T89" fmla="*/ 448 h 1091"/>
                <a:gd name="T90" fmla="*/ 1 w 1185"/>
                <a:gd name="T91" fmla="*/ 447 h 1091"/>
                <a:gd name="T92" fmla="*/ 1 w 1185"/>
                <a:gd name="T93" fmla="*/ 445 h 1091"/>
                <a:gd name="T94" fmla="*/ 1 w 1185"/>
                <a:gd name="T95" fmla="*/ 443 h 1091"/>
                <a:gd name="T96" fmla="*/ 1 w 1185"/>
                <a:gd name="T97" fmla="*/ 442 h 1091"/>
                <a:gd name="T98" fmla="*/ 1 w 1185"/>
                <a:gd name="T99" fmla="*/ 440 h 1091"/>
                <a:gd name="T100" fmla="*/ 1 w 1185"/>
                <a:gd name="T101" fmla="*/ 439 h 1091"/>
                <a:gd name="T102" fmla="*/ 1 w 1185"/>
                <a:gd name="T103" fmla="*/ 436 h 1091"/>
                <a:gd name="T104" fmla="*/ 1 w 1185"/>
                <a:gd name="T105" fmla="*/ 435 h 1091"/>
                <a:gd name="T106" fmla="*/ 1 w 1185"/>
                <a:gd name="T107" fmla="*/ 433 h 1091"/>
                <a:gd name="T108" fmla="*/ 1 w 1185"/>
                <a:gd name="T109" fmla="*/ 430 h 1091"/>
                <a:gd name="T110" fmla="*/ 1 w 1185"/>
                <a:gd name="T111" fmla="*/ 428 h 1091"/>
                <a:gd name="T112" fmla="*/ 201 w 1185"/>
                <a:gd name="T113" fmla="*/ 0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85" h="1091">
                  <a:moveTo>
                    <a:pt x="1" y="479"/>
                  </a:moveTo>
                  <a:cubicBezTo>
                    <a:pt x="10" y="819"/>
                    <a:pt x="289" y="1091"/>
                    <a:pt x="631" y="1091"/>
                  </a:cubicBezTo>
                  <a:cubicBezTo>
                    <a:pt x="631" y="1091"/>
                    <a:pt x="631" y="1091"/>
                    <a:pt x="631" y="1091"/>
                  </a:cubicBezTo>
                  <a:cubicBezTo>
                    <a:pt x="631" y="1091"/>
                    <a:pt x="631" y="1091"/>
                    <a:pt x="631" y="1091"/>
                  </a:cubicBezTo>
                  <a:cubicBezTo>
                    <a:pt x="631" y="1091"/>
                    <a:pt x="631" y="1091"/>
                    <a:pt x="631" y="1091"/>
                  </a:cubicBezTo>
                  <a:cubicBezTo>
                    <a:pt x="631" y="1091"/>
                    <a:pt x="632" y="1091"/>
                    <a:pt x="632" y="1091"/>
                  </a:cubicBezTo>
                  <a:cubicBezTo>
                    <a:pt x="632" y="1091"/>
                    <a:pt x="632" y="1091"/>
                    <a:pt x="632" y="1091"/>
                  </a:cubicBezTo>
                  <a:cubicBezTo>
                    <a:pt x="632" y="1091"/>
                    <a:pt x="632" y="1091"/>
                    <a:pt x="632" y="1091"/>
                  </a:cubicBezTo>
                  <a:cubicBezTo>
                    <a:pt x="632" y="1091"/>
                    <a:pt x="632" y="1091"/>
                    <a:pt x="632" y="1091"/>
                  </a:cubicBezTo>
                  <a:cubicBezTo>
                    <a:pt x="632" y="1091"/>
                    <a:pt x="633" y="1091"/>
                    <a:pt x="633" y="1091"/>
                  </a:cubicBezTo>
                  <a:cubicBezTo>
                    <a:pt x="633" y="1091"/>
                    <a:pt x="633" y="1091"/>
                    <a:pt x="633" y="1091"/>
                  </a:cubicBezTo>
                  <a:cubicBezTo>
                    <a:pt x="633" y="1091"/>
                    <a:pt x="633" y="1091"/>
                    <a:pt x="633" y="1091"/>
                  </a:cubicBezTo>
                  <a:cubicBezTo>
                    <a:pt x="633" y="1091"/>
                    <a:pt x="633" y="1091"/>
                    <a:pt x="633" y="1091"/>
                  </a:cubicBezTo>
                  <a:cubicBezTo>
                    <a:pt x="633" y="1091"/>
                    <a:pt x="634" y="1091"/>
                    <a:pt x="634" y="1091"/>
                  </a:cubicBezTo>
                  <a:cubicBezTo>
                    <a:pt x="634" y="1091"/>
                    <a:pt x="634" y="1091"/>
                    <a:pt x="634" y="1091"/>
                  </a:cubicBezTo>
                  <a:cubicBezTo>
                    <a:pt x="634" y="1091"/>
                    <a:pt x="634" y="1091"/>
                    <a:pt x="634" y="1091"/>
                  </a:cubicBezTo>
                  <a:cubicBezTo>
                    <a:pt x="634" y="1091"/>
                    <a:pt x="634" y="1091"/>
                    <a:pt x="634" y="1091"/>
                  </a:cubicBezTo>
                  <a:cubicBezTo>
                    <a:pt x="634" y="1091"/>
                    <a:pt x="635" y="1091"/>
                    <a:pt x="635" y="1091"/>
                  </a:cubicBezTo>
                  <a:cubicBezTo>
                    <a:pt x="635" y="1091"/>
                    <a:pt x="635" y="1091"/>
                    <a:pt x="635" y="1091"/>
                  </a:cubicBezTo>
                  <a:cubicBezTo>
                    <a:pt x="635" y="1091"/>
                    <a:pt x="635" y="1091"/>
                    <a:pt x="635" y="1091"/>
                  </a:cubicBezTo>
                  <a:cubicBezTo>
                    <a:pt x="635" y="1091"/>
                    <a:pt x="635" y="1091"/>
                    <a:pt x="635" y="1091"/>
                  </a:cubicBezTo>
                  <a:cubicBezTo>
                    <a:pt x="635" y="1091"/>
                    <a:pt x="636" y="1091"/>
                    <a:pt x="636" y="1091"/>
                  </a:cubicBezTo>
                  <a:cubicBezTo>
                    <a:pt x="636" y="1091"/>
                    <a:pt x="636" y="1091"/>
                    <a:pt x="636" y="1091"/>
                  </a:cubicBezTo>
                  <a:cubicBezTo>
                    <a:pt x="636" y="1091"/>
                    <a:pt x="636" y="1091"/>
                    <a:pt x="637" y="1091"/>
                  </a:cubicBezTo>
                  <a:cubicBezTo>
                    <a:pt x="637" y="1091"/>
                    <a:pt x="637" y="1091"/>
                    <a:pt x="637" y="1091"/>
                  </a:cubicBezTo>
                  <a:cubicBezTo>
                    <a:pt x="637" y="1091"/>
                    <a:pt x="637" y="1091"/>
                    <a:pt x="637" y="1091"/>
                  </a:cubicBezTo>
                  <a:cubicBezTo>
                    <a:pt x="637" y="1091"/>
                    <a:pt x="637" y="1091"/>
                    <a:pt x="637" y="1091"/>
                  </a:cubicBezTo>
                  <a:cubicBezTo>
                    <a:pt x="637" y="1091"/>
                    <a:pt x="638" y="1091"/>
                    <a:pt x="638" y="1091"/>
                  </a:cubicBezTo>
                  <a:cubicBezTo>
                    <a:pt x="638" y="1091"/>
                    <a:pt x="638" y="1091"/>
                    <a:pt x="638" y="1091"/>
                  </a:cubicBezTo>
                  <a:cubicBezTo>
                    <a:pt x="638" y="1091"/>
                    <a:pt x="638" y="1091"/>
                    <a:pt x="638" y="1091"/>
                  </a:cubicBezTo>
                  <a:cubicBezTo>
                    <a:pt x="638" y="1091"/>
                    <a:pt x="638" y="1091"/>
                    <a:pt x="638" y="1091"/>
                  </a:cubicBezTo>
                  <a:cubicBezTo>
                    <a:pt x="639" y="1091"/>
                    <a:pt x="639" y="1091"/>
                    <a:pt x="639" y="1091"/>
                  </a:cubicBezTo>
                  <a:cubicBezTo>
                    <a:pt x="639" y="1091"/>
                    <a:pt x="639" y="1091"/>
                    <a:pt x="639" y="1091"/>
                  </a:cubicBezTo>
                  <a:cubicBezTo>
                    <a:pt x="639" y="1091"/>
                    <a:pt x="639" y="1091"/>
                    <a:pt x="639" y="1091"/>
                  </a:cubicBezTo>
                  <a:cubicBezTo>
                    <a:pt x="639" y="1091"/>
                    <a:pt x="639" y="1091"/>
                    <a:pt x="639" y="1091"/>
                  </a:cubicBezTo>
                  <a:cubicBezTo>
                    <a:pt x="640" y="1091"/>
                    <a:pt x="640" y="1091"/>
                    <a:pt x="640" y="1091"/>
                  </a:cubicBezTo>
                  <a:cubicBezTo>
                    <a:pt x="640" y="1091"/>
                    <a:pt x="640" y="1091"/>
                    <a:pt x="640" y="1091"/>
                  </a:cubicBezTo>
                  <a:cubicBezTo>
                    <a:pt x="640" y="1091"/>
                    <a:pt x="640" y="1091"/>
                    <a:pt x="640" y="1091"/>
                  </a:cubicBezTo>
                  <a:cubicBezTo>
                    <a:pt x="640" y="1091"/>
                    <a:pt x="640" y="1091"/>
                    <a:pt x="640" y="1091"/>
                  </a:cubicBezTo>
                  <a:cubicBezTo>
                    <a:pt x="641" y="1091"/>
                    <a:pt x="641" y="1091"/>
                    <a:pt x="641" y="1091"/>
                  </a:cubicBezTo>
                  <a:cubicBezTo>
                    <a:pt x="641" y="1091"/>
                    <a:pt x="641" y="1091"/>
                    <a:pt x="641" y="1091"/>
                  </a:cubicBezTo>
                  <a:cubicBezTo>
                    <a:pt x="641" y="1091"/>
                    <a:pt x="641" y="1091"/>
                    <a:pt x="641" y="1091"/>
                  </a:cubicBezTo>
                  <a:cubicBezTo>
                    <a:pt x="641" y="1091"/>
                    <a:pt x="641" y="1091"/>
                    <a:pt x="641" y="1091"/>
                  </a:cubicBezTo>
                  <a:cubicBezTo>
                    <a:pt x="642" y="1091"/>
                    <a:pt x="642" y="1091"/>
                    <a:pt x="642" y="1091"/>
                  </a:cubicBezTo>
                  <a:cubicBezTo>
                    <a:pt x="642" y="1091"/>
                    <a:pt x="642" y="1091"/>
                    <a:pt x="642" y="1091"/>
                  </a:cubicBezTo>
                  <a:cubicBezTo>
                    <a:pt x="643" y="1091"/>
                    <a:pt x="643" y="1091"/>
                    <a:pt x="643" y="1091"/>
                  </a:cubicBezTo>
                  <a:cubicBezTo>
                    <a:pt x="643" y="1091"/>
                    <a:pt x="643" y="1091"/>
                    <a:pt x="643" y="1091"/>
                  </a:cubicBezTo>
                  <a:cubicBezTo>
                    <a:pt x="643" y="1091"/>
                    <a:pt x="643" y="1091"/>
                    <a:pt x="643" y="1091"/>
                  </a:cubicBezTo>
                  <a:cubicBezTo>
                    <a:pt x="643" y="1091"/>
                    <a:pt x="643" y="1091"/>
                    <a:pt x="643" y="1091"/>
                  </a:cubicBezTo>
                  <a:cubicBezTo>
                    <a:pt x="644" y="1091"/>
                    <a:pt x="644" y="1091"/>
                    <a:pt x="644" y="1091"/>
                  </a:cubicBezTo>
                  <a:cubicBezTo>
                    <a:pt x="644" y="1091"/>
                    <a:pt x="644" y="1091"/>
                    <a:pt x="644" y="1091"/>
                  </a:cubicBezTo>
                  <a:cubicBezTo>
                    <a:pt x="644" y="1091"/>
                    <a:pt x="644" y="1091"/>
                    <a:pt x="644" y="1091"/>
                  </a:cubicBezTo>
                  <a:cubicBezTo>
                    <a:pt x="644" y="1091"/>
                    <a:pt x="644" y="1091"/>
                    <a:pt x="644" y="1091"/>
                  </a:cubicBezTo>
                  <a:cubicBezTo>
                    <a:pt x="645" y="1091"/>
                    <a:pt x="645" y="1091"/>
                    <a:pt x="645" y="1091"/>
                  </a:cubicBezTo>
                  <a:cubicBezTo>
                    <a:pt x="645" y="1091"/>
                    <a:pt x="645" y="1091"/>
                    <a:pt x="645" y="1091"/>
                  </a:cubicBezTo>
                  <a:cubicBezTo>
                    <a:pt x="645" y="1091"/>
                    <a:pt x="645" y="1091"/>
                    <a:pt x="645" y="1091"/>
                  </a:cubicBezTo>
                  <a:cubicBezTo>
                    <a:pt x="645" y="1091"/>
                    <a:pt x="645" y="1091"/>
                    <a:pt x="646" y="1091"/>
                  </a:cubicBezTo>
                  <a:cubicBezTo>
                    <a:pt x="646" y="1091"/>
                    <a:pt x="646" y="1091"/>
                    <a:pt x="646" y="1091"/>
                  </a:cubicBezTo>
                  <a:cubicBezTo>
                    <a:pt x="646" y="1091"/>
                    <a:pt x="646" y="1091"/>
                    <a:pt x="646" y="1091"/>
                  </a:cubicBezTo>
                  <a:cubicBezTo>
                    <a:pt x="646" y="1091"/>
                    <a:pt x="646" y="1091"/>
                    <a:pt x="646" y="1091"/>
                  </a:cubicBezTo>
                  <a:cubicBezTo>
                    <a:pt x="646" y="1091"/>
                    <a:pt x="647" y="1091"/>
                    <a:pt x="647" y="1091"/>
                  </a:cubicBezTo>
                  <a:cubicBezTo>
                    <a:pt x="647" y="1091"/>
                    <a:pt x="647" y="1091"/>
                    <a:pt x="647" y="1091"/>
                  </a:cubicBezTo>
                  <a:cubicBezTo>
                    <a:pt x="647" y="1091"/>
                    <a:pt x="647" y="1091"/>
                    <a:pt x="647" y="1091"/>
                  </a:cubicBezTo>
                  <a:cubicBezTo>
                    <a:pt x="647" y="1091"/>
                    <a:pt x="647" y="1091"/>
                    <a:pt x="647" y="1091"/>
                  </a:cubicBezTo>
                  <a:cubicBezTo>
                    <a:pt x="647" y="1091"/>
                    <a:pt x="647" y="1091"/>
                    <a:pt x="647" y="1091"/>
                  </a:cubicBezTo>
                  <a:cubicBezTo>
                    <a:pt x="648" y="1091"/>
                    <a:pt x="648" y="1091"/>
                    <a:pt x="648" y="1091"/>
                  </a:cubicBezTo>
                  <a:cubicBezTo>
                    <a:pt x="648" y="1091"/>
                    <a:pt x="648" y="1091"/>
                    <a:pt x="648" y="1091"/>
                  </a:cubicBezTo>
                  <a:cubicBezTo>
                    <a:pt x="648" y="1091"/>
                    <a:pt x="648" y="1091"/>
                    <a:pt x="648" y="1091"/>
                  </a:cubicBezTo>
                  <a:cubicBezTo>
                    <a:pt x="648" y="1091"/>
                    <a:pt x="648" y="1091"/>
                    <a:pt x="649" y="1091"/>
                  </a:cubicBezTo>
                  <a:cubicBezTo>
                    <a:pt x="649" y="1091"/>
                    <a:pt x="649" y="1091"/>
                    <a:pt x="649" y="1091"/>
                  </a:cubicBezTo>
                  <a:cubicBezTo>
                    <a:pt x="649" y="1091"/>
                    <a:pt x="649" y="1091"/>
                    <a:pt x="649" y="1091"/>
                  </a:cubicBezTo>
                  <a:cubicBezTo>
                    <a:pt x="649" y="1091"/>
                    <a:pt x="649" y="1091"/>
                    <a:pt x="649" y="1091"/>
                  </a:cubicBezTo>
                  <a:cubicBezTo>
                    <a:pt x="649" y="1091"/>
                    <a:pt x="649" y="1091"/>
                    <a:pt x="650" y="1091"/>
                  </a:cubicBezTo>
                  <a:cubicBezTo>
                    <a:pt x="650" y="1091"/>
                    <a:pt x="650" y="1091"/>
                    <a:pt x="650" y="1091"/>
                  </a:cubicBezTo>
                  <a:cubicBezTo>
                    <a:pt x="650" y="1091"/>
                    <a:pt x="650" y="1091"/>
                    <a:pt x="650" y="1091"/>
                  </a:cubicBezTo>
                  <a:cubicBezTo>
                    <a:pt x="650" y="1091"/>
                    <a:pt x="650" y="1091"/>
                    <a:pt x="650" y="1091"/>
                  </a:cubicBezTo>
                  <a:cubicBezTo>
                    <a:pt x="650" y="1091"/>
                    <a:pt x="650" y="1091"/>
                    <a:pt x="651" y="1091"/>
                  </a:cubicBezTo>
                  <a:cubicBezTo>
                    <a:pt x="651" y="1091"/>
                    <a:pt x="651" y="1091"/>
                    <a:pt x="651" y="1091"/>
                  </a:cubicBezTo>
                  <a:cubicBezTo>
                    <a:pt x="651" y="1091"/>
                    <a:pt x="651" y="1091"/>
                    <a:pt x="651" y="1091"/>
                  </a:cubicBezTo>
                  <a:cubicBezTo>
                    <a:pt x="651" y="1091"/>
                    <a:pt x="651" y="1091"/>
                    <a:pt x="651" y="1091"/>
                  </a:cubicBezTo>
                  <a:cubicBezTo>
                    <a:pt x="651" y="1091"/>
                    <a:pt x="652" y="1091"/>
                    <a:pt x="652" y="1091"/>
                  </a:cubicBezTo>
                  <a:cubicBezTo>
                    <a:pt x="652" y="1091"/>
                    <a:pt x="652" y="1091"/>
                    <a:pt x="652" y="1091"/>
                  </a:cubicBezTo>
                  <a:cubicBezTo>
                    <a:pt x="652" y="1091"/>
                    <a:pt x="652" y="1091"/>
                    <a:pt x="652" y="1091"/>
                  </a:cubicBezTo>
                  <a:cubicBezTo>
                    <a:pt x="652" y="1091"/>
                    <a:pt x="652" y="1091"/>
                    <a:pt x="652" y="1091"/>
                  </a:cubicBezTo>
                  <a:cubicBezTo>
                    <a:pt x="653" y="1091"/>
                    <a:pt x="653" y="1091"/>
                    <a:pt x="653" y="1091"/>
                  </a:cubicBezTo>
                  <a:cubicBezTo>
                    <a:pt x="653" y="1091"/>
                    <a:pt x="653" y="1091"/>
                    <a:pt x="653" y="1091"/>
                  </a:cubicBezTo>
                  <a:cubicBezTo>
                    <a:pt x="653" y="1091"/>
                    <a:pt x="653" y="1091"/>
                    <a:pt x="653" y="1091"/>
                  </a:cubicBezTo>
                  <a:cubicBezTo>
                    <a:pt x="653" y="1091"/>
                    <a:pt x="653" y="1091"/>
                    <a:pt x="653" y="1091"/>
                  </a:cubicBezTo>
                  <a:cubicBezTo>
                    <a:pt x="654" y="1091"/>
                    <a:pt x="654" y="1091"/>
                    <a:pt x="654" y="1091"/>
                  </a:cubicBezTo>
                  <a:cubicBezTo>
                    <a:pt x="654" y="1091"/>
                    <a:pt x="654" y="1091"/>
                    <a:pt x="654" y="1091"/>
                  </a:cubicBezTo>
                  <a:cubicBezTo>
                    <a:pt x="654" y="1091"/>
                    <a:pt x="654" y="1091"/>
                    <a:pt x="654" y="1091"/>
                  </a:cubicBezTo>
                  <a:cubicBezTo>
                    <a:pt x="654" y="1091"/>
                    <a:pt x="654" y="1091"/>
                    <a:pt x="654" y="1091"/>
                  </a:cubicBezTo>
                  <a:cubicBezTo>
                    <a:pt x="655" y="1091"/>
                    <a:pt x="655" y="1091"/>
                    <a:pt x="655" y="1091"/>
                  </a:cubicBezTo>
                  <a:cubicBezTo>
                    <a:pt x="655" y="1091"/>
                    <a:pt x="655" y="1091"/>
                    <a:pt x="655" y="1091"/>
                  </a:cubicBezTo>
                  <a:cubicBezTo>
                    <a:pt x="655" y="1091"/>
                    <a:pt x="655" y="1091"/>
                    <a:pt x="655" y="1091"/>
                  </a:cubicBezTo>
                  <a:cubicBezTo>
                    <a:pt x="655" y="1091"/>
                    <a:pt x="655" y="1091"/>
                    <a:pt x="656" y="1091"/>
                  </a:cubicBezTo>
                  <a:cubicBezTo>
                    <a:pt x="656" y="1091"/>
                    <a:pt x="656" y="1091"/>
                    <a:pt x="656" y="1091"/>
                  </a:cubicBezTo>
                  <a:cubicBezTo>
                    <a:pt x="656" y="1091"/>
                    <a:pt x="656" y="1091"/>
                    <a:pt x="656" y="1091"/>
                  </a:cubicBezTo>
                  <a:cubicBezTo>
                    <a:pt x="656" y="1091"/>
                    <a:pt x="656" y="1091"/>
                    <a:pt x="656" y="1091"/>
                  </a:cubicBezTo>
                  <a:cubicBezTo>
                    <a:pt x="656" y="1091"/>
                    <a:pt x="656" y="1091"/>
                    <a:pt x="657" y="1091"/>
                  </a:cubicBezTo>
                  <a:cubicBezTo>
                    <a:pt x="657" y="1091"/>
                    <a:pt x="657" y="1091"/>
                    <a:pt x="657" y="1091"/>
                  </a:cubicBezTo>
                  <a:cubicBezTo>
                    <a:pt x="657" y="1091"/>
                    <a:pt x="657" y="1091"/>
                    <a:pt x="657" y="1091"/>
                  </a:cubicBezTo>
                  <a:cubicBezTo>
                    <a:pt x="657" y="1091"/>
                    <a:pt x="657" y="1091"/>
                    <a:pt x="657" y="1091"/>
                  </a:cubicBezTo>
                  <a:cubicBezTo>
                    <a:pt x="657" y="1091"/>
                    <a:pt x="657" y="1091"/>
                    <a:pt x="657" y="1091"/>
                  </a:cubicBezTo>
                  <a:cubicBezTo>
                    <a:pt x="658" y="1091"/>
                    <a:pt x="658" y="1091"/>
                    <a:pt x="658" y="1091"/>
                  </a:cubicBezTo>
                  <a:cubicBezTo>
                    <a:pt x="658" y="1091"/>
                    <a:pt x="658" y="1091"/>
                    <a:pt x="658" y="1091"/>
                  </a:cubicBezTo>
                  <a:cubicBezTo>
                    <a:pt x="658" y="1091"/>
                    <a:pt x="658" y="1091"/>
                    <a:pt x="658" y="1091"/>
                  </a:cubicBezTo>
                  <a:cubicBezTo>
                    <a:pt x="658" y="1091"/>
                    <a:pt x="658" y="1091"/>
                    <a:pt x="658" y="1091"/>
                  </a:cubicBezTo>
                  <a:cubicBezTo>
                    <a:pt x="659" y="1091"/>
                    <a:pt x="659" y="1091"/>
                    <a:pt x="659" y="1091"/>
                  </a:cubicBezTo>
                  <a:cubicBezTo>
                    <a:pt x="659" y="1091"/>
                    <a:pt x="659" y="1091"/>
                    <a:pt x="659" y="1091"/>
                  </a:cubicBezTo>
                  <a:cubicBezTo>
                    <a:pt x="659" y="1091"/>
                    <a:pt x="659" y="1091"/>
                    <a:pt x="659" y="1091"/>
                  </a:cubicBezTo>
                  <a:cubicBezTo>
                    <a:pt x="659" y="1091"/>
                    <a:pt x="659" y="1091"/>
                    <a:pt x="659" y="1091"/>
                  </a:cubicBezTo>
                  <a:cubicBezTo>
                    <a:pt x="660" y="1091"/>
                    <a:pt x="660" y="1091"/>
                    <a:pt x="660" y="1091"/>
                  </a:cubicBezTo>
                  <a:cubicBezTo>
                    <a:pt x="660" y="1091"/>
                    <a:pt x="660" y="1091"/>
                    <a:pt x="660" y="1091"/>
                  </a:cubicBezTo>
                  <a:cubicBezTo>
                    <a:pt x="660" y="1091"/>
                    <a:pt x="660" y="1091"/>
                    <a:pt x="660" y="1091"/>
                  </a:cubicBezTo>
                  <a:cubicBezTo>
                    <a:pt x="660" y="1091"/>
                    <a:pt x="660" y="1091"/>
                    <a:pt x="660" y="1091"/>
                  </a:cubicBezTo>
                  <a:cubicBezTo>
                    <a:pt x="661" y="1091"/>
                    <a:pt x="661" y="1091"/>
                    <a:pt x="661" y="1091"/>
                  </a:cubicBezTo>
                  <a:cubicBezTo>
                    <a:pt x="661" y="1091"/>
                    <a:pt x="661" y="1091"/>
                    <a:pt x="661" y="1091"/>
                  </a:cubicBezTo>
                  <a:cubicBezTo>
                    <a:pt x="661" y="1091"/>
                    <a:pt x="661" y="1091"/>
                    <a:pt x="661" y="1091"/>
                  </a:cubicBezTo>
                  <a:cubicBezTo>
                    <a:pt x="661" y="1091"/>
                    <a:pt x="661" y="1091"/>
                    <a:pt x="661" y="1091"/>
                  </a:cubicBezTo>
                  <a:cubicBezTo>
                    <a:pt x="662" y="1091"/>
                    <a:pt x="662" y="1091"/>
                    <a:pt x="662" y="1091"/>
                  </a:cubicBezTo>
                  <a:cubicBezTo>
                    <a:pt x="662" y="1091"/>
                    <a:pt x="662" y="1091"/>
                    <a:pt x="662" y="1091"/>
                  </a:cubicBezTo>
                  <a:cubicBezTo>
                    <a:pt x="662" y="1091"/>
                    <a:pt x="662" y="1091"/>
                    <a:pt x="662" y="1091"/>
                  </a:cubicBezTo>
                  <a:cubicBezTo>
                    <a:pt x="662" y="1091"/>
                    <a:pt x="662" y="1091"/>
                    <a:pt x="662" y="1091"/>
                  </a:cubicBezTo>
                  <a:cubicBezTo>
                    <a:pt x="663" y="1091"/>
                    <a:pt x="663" y="1091"/>
                    <a:pt x="663" y="1091"/>
                  </a:cubicBezTo>
                  <a:cubicBezTo>
                    <a:pt x="663" y="1091"/>
                    <a:pt x="663" y="1091"/>
                    <a:pt x="663" y="1091"/>
                  </a:cubicBezTo>
                  <a:cubicBezTo>
                    <a:pt x="663" y="1091"/>
                    <a:pt x="663" y="1091"/>
                    <a:pt x="663" y="1091"/>
                  </a:cubicBezTo>
                  <a:cubicBezTo>
                    <a:pt x="663" y="1091"/>
                    <a:pt x="663" y="1091"/>
                    <a:pt x="663" y="1090"/>
                  </a:cubicBezTo>
                  <a:cubicBezTo>
                    <a:pt x="664" y="1090"/>
                    <a:pt x="664" y="1090"/>
                    <a:pt x="664" y="1090"/>
                  </a:cubicBezTo>
                  <a:cubicBezTo>
                    <a:pt x="664" y="1090"/>
                    <a:pt x="664" y="1090"/>
                    <a:pt x="664" y="1090"/>
                  </a:cubicBezTo>
                  <a:cubicBezTo>
                    <a:pt x="664" y="1090"/>
                    <a:pt x="664" y="1090"/>
                    <a:pt x="664" y="1090"/>
                  </a:cubicBezTo>
                  <a:cubicBezTo>
                    <a:pt x="664" y="1090"/>
                    <a:pt x="664" y="1090"/>
                    <a:pt x="665" y="1090"/>
                  </a:cubicBezTo>
                  <a:cubicBezTo>
                    <a:pt x="665" y="1090"/>
                    <a:pt x="665" y="1090"/>
                    <a:pt x="665" y="1090"/>
                  </a:cubicBezTo>
                  <a:cubicBezTo>
                    <a:pt x="665" y="1090"/>
                    <a:pt x="665" y="1090"/>
                    <a:pt x="665" y="1090"/>
                  </a:cubicBezTo>
                  <a:cubicBezTo>
                    <a:pt x="665" y="1090"/>
                    <a:pt x="665" y="1090"/>
                    <a:pt x="665" y="1090"/>
                  </a:cubicBezTo>
                  <a:cubicBezTo>
                    <a:pt x="665" y="1090"/>
                    <a:pt x="665" y="1090"/>
                    <a:pt x="666" y="1090"/>
                  </a:cubicBezTo>
                  <a:cubicBezTo>
                    <a:pt x="666" y="1090"/>
                    <a:pt x="666" y="1090"/>
                    <a:pt x="666" y="1090"/>
                  </a:cubicBezTo>
                  <a:cubicBezTo>
                    <a:pt x="666" y="1090"/>
                    <a:pt x="666" y="1090"/>
                    <a:pt x="666" y="1090"/>
                  </a:cubicBezTo>
                  <a:cubicBezTo>
                    <a:pt x="666" y="1090"/>
                    <a:pt x="666" y="1090"/>
                    <a:pt x="666" y="1090"/>
                  </a:cubicBezTo>
                  <a:cubicBezTo>
                    <a:pt x="666" y="1090"/>
                    <a:pt x="666" y="1090"/>
                    <a:pt x="667" y="1090"/>
                  </a:cubicBezTo>
                  <a:cubicBezTo>
                    <a:pt x="667" y="1090"/>
                    <a:pt x="667" y="1090"/>
                    <a:pt x="667" y="1090"/>
                  </a:cubicBezTo>
                  <a:cubicBezTo>
                    <a:pt x="667" y="1090"/>
                    <a:pt x="667" y="1090"/>
                    <a:pt x="667" y="1090"/>
                  </a:cubicBezTo>
                  <a:cubicBezTo>
                    <a:pt x="667" y="1090"/>
                    <a:pt x="667" y="1090"/>
                    <a:pt x="667" y="1090"/>
                  </a:cubicBezTo>
                  <a:cubicBezTo>
                    <a:pt x="667" y="1090"/>
                    <a:pt x="667" y="1090"/>
                    <a:pt x="667" y="1090"/>
                  </a:cubicBezTo>
                  <a:cubicBezTo>
                    <a:pt x="668" y="1090"/>
                    <a:pt x="668" y="1090"/>
                    <a:pt x="668" y="1090"/>
                  </a:cubicBezTo>
                  <a:cubicBezTo>
                    <a:pt x="668" y="1090"/>
                    <a:pt x="668" y="1090"/>
                    <a:pt x="668" y="1090"/>
                  </a:cubicBezTo>
                  <a:cubicBezTo>
                    <a:pt x="668" y="1090"/>
                    <a:pt x="668" y="1090"/>
                    <a:pt x="668" y="1090"/>
                  </a:cubicBezTo>
                  <a:cubicBezTo>
                    <a:pt x="668" y="1090"/>
                    <a:pt x="668" y="1090"/>
                    <a:pt x="668" y="1090"/>
                  </a:cubicBezTo>
                  <a:cubicBezTo>
                    <a:pt x="669" y="1090"/>
                    <a:pt x="669" y="1090"/>
                    <a:pt x="669" y="1090"/>
                  </a:cubicBezTo>
                  <a:cubicBezTo>
                    <a:pt x="669" y="1090"/>
                    <a:pt x="669" y="1090"/>
                    <a:pt x="669" y="1090"/>
                  </a:cubicBezTo>
                  <a:cubicBezTo>
                    <a:pt x="669" y="1090"/>
                    <a:pt x="669" y="1090"/>
                    <a:pt x="669" y="1090"/>
                  </a:cubicBezTo>
                  <a:cubicBezTo>
                    <a:pt x="669" y="1090"/>
                    <a:pt x="669" y="1090"/>
                    <a:pt x="669" y="1090"/>
                  </a:cubicBezTo>
                  <a:cubicBezTo>
                    <a:pt x="670" y="1090"/>
                    <a:pt x="670" y="1090"/>
                    <a:pt x="670" y="1090"/>
                  </a:cubicBezTo>
                  <a:cubicBezTo>
                    <a:pt x="670" y="1090"/>
                    <a:pt x="670" y="1090"/>
                    <a:pt x="670" y="1090"/>
                  </a:cubicBezTo>
                  <a:cubicBezTo>
                    <a:pt x="670" y="1090"/>
                    <a:pt x="670" y="1090"/>
                    <a:pt x="670" y="1090"/>
                  </a:cubicBezTo>
                  <a:cubicBezTo>
                    <a:pt x="670" y="1090"/>
                    <a:pt x="670" y="1090"/>
                    <a:pt x="670" y="1090"/>
                  </a:cubicBezTo>
                  <a:cubicBezTo>
                    <a:pt x="671" y="1090"/>
                    <a:pt x="671" y="1090"/>
                    <a:pt x="671" y="1090"/>
                  </a:cubicBezTo>
                  <a:cubicBezTo>
                    <a:pt x="671" y="1090"/>
                    <a:pt x="671" y="1090"/>
                    <a:pt x="671" y="1090"/>
                  </a:cubicBezTo>
                  <a:cubicBezTo>
                    <a:pt x="672" y="1090"/>
                    <a:pt x="672" y="1090"/>
                    <a:pt x="672" y="1090"/>
                  </a:cubicBezTo>
                  <a:cubicBezTo>
                    <a:pt x="672" y="1090"/>
                    <a:pt x="672" y="1090"/>
                    <a:pt x="673" y="1090"/>
                  </a:cubicBezTo>
                  <a:cubicBezTo>
                    <a:pt x="673" y="1090"/>
                    <a:pt x="673" y="1090"/>
                    <a:pt x="673" y="1090"/>
                  </a:cubicBezTo>
                  <a:cubicBezTo>
                    <a:pt x="673" y="1090"/>
                    <a:pt x="673" y="1090"/>
                    <a:pt x="673" y="1090"/>
                  </a:cubicBezTo>
                  <a:cubicBezTo>
                    <a:pt x="673" y="1090"/>
                    <a:pt x="673" y="1090"/>
                    <a:pt x="673" y="1090"/>
                  </a:cubicBezTo>
                  <a:cubicBezTo>
                    <a:pt x="673" y="1090"/>
                    <a:pt x="673" y="1090"/>
                    <a:pt x="674" y="1090"/>
                  </a:cubicBezTo>
                  <a:cubicBezTo>
                    <a:pt x="674" y="1090"/>
                    <a:pt x="674" y="1090"/>
                    <a:pt x="674" y="1090"/>
                  </a:cubicBezTo>
                  <a:cubicBezTo>
                    <a:pt x="674" y="1090"/>
                    <a:pt x="674" y="1090"/>
                    <a:pt x="674" y="1090"/>
                  </a:cubicBezTo>
                  <a:cubicBezTo>
                    <a:pt x="674" y="1090"/>
                    <a:pt x="674" y="1090"/>
                    <a:pt x="674" y="1090"/>
                  </a:cubicBezTo>
                  <a:cubicBezTo>
                    <a:pt x="674" y="1090"/>
                    <a:pt x="675" y="1090"/>
                    <a:pt x="675" y="1090"/>
                  </a:cubicBezTo>
                  <a:cubicBezTo>
                    <a:pt x="675" y="1090"/>
                    <a:pt x="675" y="1090"/>
                    <a:pt x="675" y="1090"/>
                  </a:cubicBezTo>
                  <a:cubicBezTo>
                    <a:pt x="675" y="1090"/>
                    <a:pt x="675" y="1090"/>
                    <a:pt x="675" y="1090"/>
                  </a:cubicBezTo>
                  <a:cubicBezTo>
                    <a:pt x="675" y="1090"/>
                    <a:pt x="676" y="1090"/>
                    <a:pt x="676" y="1090"/>
                  </a:cubicBezTo>
                  <a:cubicBezTo>
                    <a:pt x="676" y="1090"/>
                    <a:pt x="676" y="1090"/>
                    <a:pt x="676" y="1090"/>
                  </a:cubicBezTo>
                  <a:cubicBezTo>
                    <a:pt x="676" y="1090"/>
                    <a:pt x="677" y="1090"/>
                    <a:pt x="677" y="1090"/>
                  </a:cubicBezTo>
                  <a:cubicBezTo>
                    <a:pt x="677" y="1090"/>
                    <a:pt x="677" y="1090"/>
                    <a:pt x="677" y="1090"/>
                  </a:cubicBezTo>
                  <a:cubicBezTo>
                    <a:pt x="677" y="1090"/>
                    <a:pt x="678" y="1090"/>
                    <a:pt x="678" y="1090"/>
                  </a:cubicBezTo>
                  <a:cubicBezTo>
                    <a:pt x="678" y="1090"/>
                    <a:pt x="678" y="1090"/>
                    <a:pt x="678" y="1090"/>
                  </a:cubicBezTo>
                  <a:cubicBezTo>
                    <a:pt x="897" y="1073"/>
                    <a:pt x="1085" y="945"/>
                    <a:pt x="1185" y="761"/>
                  </a:cubicBezTo>
                  <a:cubicBezTo>
                    <a:pt x="1185" y="761"/>
                    <a:pt x="1185" y="761"/>
                    <a:pt x="1185" y="761"/>
                  </a:cubicBezTo>
                  <a:cubicBezTo>
                    <a:pt x="1143" y="838"/>
                    <a:pt x="1086" y="906"/>
                    <a:pt x="1017" y="959"/>
                  </a:cubicBezTo>
                  <a:cubicBezTo>
                    <a:pt x="977" y="952"/>
                    <a:pt x="933" y="939"/>
                    <a:pt x="888" y="917"/>
                  </a:cubicBezTo>
                  <a:cubicBezTo>
                    <a:pt x="845" y="926"/>
                    <a:pt x="801" y="931"/>
                    <a:pt x="755" y="931"/>
                  </a:cubicBezTo>
                  <a:cubicBezTo>
                    <a:pt x="643" y="931"/>
                    <a:pt x="538" y="902"/>
                    <a:pt x="447" y="851"/>
                  </a:cubicBezTo>
                  <a:cubicBezTo>
                    <a:pt x="439" y="862"/>
                    <a:pt x="430" y="873"/>
                    <a:pt x="420" y="883"/>
                  </a:cubicBezTo>
                  <a:cubicBezTo>
                    <a:pt x="386" y="917"/>
                    <a:pt x="355" y="972"/>
                    <a:pt x="363" y="1032"/>
                  </a:cubicBezTo>
                  <a:cubicBezTo>
                    <a:pt x="156" y="934"/>
                    <a:pt x="10" y="728"/>
                    <a:pt x="1" y="486"/>
                  </a:cubicBezTo>
                  <a:cubicBezTo>
                    <a:pt x="1" y="486"/>
                    <a:pt x="1" y="486"/>
                    <a:pt x="1" y="486"/>
                  </a:cubicBezTo>
                  <a:cubicBezTo>
                    <a:pt x="1" y="485"/>
                    <a:pt x="1" y="484"/>
                    <a:pt x="1" y="484"/>
                  </a:cubicBezTo>
                  <a:cubicBezTo>
                    <a:pt x="1" y="484"/>
                    <a:pt x="1" y="484"/>
                    <a:pt x="1" y="484"/>
                  </a:cubicBezTo>
                  <a:cubicBezTo>
                    <a:pt x="1" y="483"/>
                    <a:pt x="1" y="483"/>
                    <a:pt x="1" y="483"/>
                  </a:cubicBezTo>
                  <a:cubicBezTo>
                    <a:pt x="1" y="483"/>
                    <a:pt x="1" y="483"/>
                    <a:pt x="1" y="483"/>
                  </a:cubicBezTo>
                  <a:cubicBezTo>
                    <a:pt x="1" y="482"/>
                    <a:pt x="1" y="482"/>
                    <a:pt x="1" y="481"/>
                  </a:cubicBezTo>
                  <a:cubicBezTo>
                    <a:pt x="1" y="481"/>
                    <a:pt x="1" y="481"/>
                    <a:pt x="1" y="481"/>
                  </a:cubicBezTo>
                  <a:cubicBezTo>
                    <a:pt x="1" y="481"/>
                    <a:pt x="1" y="481"/>
                    <a:pt x="1" y="480"/>
                  </a:cubicBezTo>
                  <a:cubicBezTo>
                    <a:pt x="1" y="480"/>
                    <a:pt x="1" y="480"/>
                    <a:pt x="1" y="480"/>
                  </a:cubicBezTo>
                  <a:cubicBezTo>
                    <a:pt x="1" y="480"/>
                    <a:pt x="1" y="480"/>
                    <a:pt x="1" y="479"/>
                  </a:cubicBezTo>
                  <a:moveTo>
                    <a:pt x="1" y="478"/>
                  </a:moveTo>
                  <a:cubicBezTo>
                    <a:pt x="1" y="478"/>
                    <a:pt x="1" y="479"/>
                    <a:pt x="1" y="479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1" y="478"/>
                    <a:pt x="1" y="478"/>
                    <a:pt x="1" y="478"/>
                  </a:cubicBezTo>
                  <a:cubicBezTo>
                    <a:pt x="1" y="478"/>
                    <a:pt x="1" y="478"/>
                    <a:pt x="1" y="478"/>
                  </a:cubicBezTo>
                  <a:moveTo>
                    <a:pt x="1" y="478"/>
                  </a:moveTo>
                  <a:cubicBezTo>
                    <a:pt x="1" y="478"/>
                    <a:pt x="1" y="478"/>
                    <a:pt x="1" y="478"/>
                  </a:cubicBezTo>
                  <a:cubicBezTo>
                    <a:pt x="1" y="478"/>
                    <a:pt x="1" y="478"/>
                    <a:pt x="1" y="478"/>
                  </a:cubicBezTo>
                  <a:cubicBezTo>
                    <a:pt x="1" y="478"/>
                    <a:pt x="1" y="478"/>
                    <a:pt x="1" y="478"/>
                  </a:cubicBezTo>
                  <a:cubicBezTo>
                    <a:pt x="1" y="478"/>
                    <a:pt x="1" y="478"/>
                    <a:pt x="1" y="478"/>
                  </a:cubicBezTo>
                  <a:moveTo>
                    <a:pt x="1" y="477"/>
                  </a:moveTo>
                  <a:cubicBezTo>
                    <a:pt x="1" y="477"/>
                    <a:pt x="1" y="477"/>
                    <a:pt x="1" y="478"/>
                  </a:cubicBezTo>
                  <a:cubicBezTo>
                    <a:pt x="1" y="477"/>
                    <a:pt x="1" y="477"/>
                    <a:pt x="1" y="477"/>
                  </a:cubicBezTo>
                  <a:cubicBezTo>
                    <a:pt x="1" y="477"/>
                    <a:pt x="1" y="477"/>
                    <a:pt x="1" y="477"/>
                  </a:cubicBezTo>
                  <a:cubicBezTo>
                    <a:pt x="1" y="477"/>
                    <a:pt x="1" y="477"/>
                    <a:pt x="1" y="477"/>
                  </a:cubicBezTo>
                  <a:moveTo>
                    <a:pt x="1" y="476"/>
                  </a:moveTo>
                  <a:cubicBezTo>
                    <a:pt x="1" y="476"/>
                    <a:pt x="1" y="476"/>
                    <a:pt x="1" y="476"/>
                  </a:cubicBezTo>
                  <a:cubicBezTo>
                    <a:pt x="1" y="476"/>
                    <a:pt x="1" y="476"/>
                    <a:pt x="1" y="476"/>
                  </a:cubicBezTo>
                  <a:moveTo>
                    <a:pt x="1" y="475"/>
                  </a:moveTo>
                  <a:cubicBezTo>
                    <a:pt x="1" y="476"/>
                    <a:pt x="1" y="476"/>
                    <a:pt x="1" y="476"/>
                  </a:cubicBezTo>
                  <a:cubicBezTo>
                    <a:pt x="1" y="476"/>
                    <a:pt x="1" y="476"/>
                    <a:pt x="1" y="476"/>
                  </a:cubicBezTo>
                  <a:cubicBezTo>
                    <a:pt x="1" y="476"/>
                    <a:pt x="1" y="476"/>
                    <a:pt x="1" y="476"/>
                  </a:cubicBezTo>
                  <a:cubicBezTo>
                    <a:pt x="1" y="476"/>
                    <a:pt x="1" y="476"/>
                    <a:pt x="1" y="475"/>
                  </a:cubicBezTo>
                  <a:moveTo>
                    <a:pt x="1" y="475"/>
                  </a:moveTo>
                  <a:cubicBezTo>
                    <a:pt x="1" y="475"/>
                    <a:pt x="1" y="475"/>
                    <a:pt x="1" y="475"/>
                  </a:cubicBezTo>
                  <a:cubicBezTo>
                    <a:pt x="1" y="475"/>
                    <a:pt x="1" y="475"/>
                    <a:pt x="1" y="475"/>
                  </a:cubicBezTo>
                  <a:cubicBezTo>
                    <a:pt x="1" y="475"/>
                    <a:pt x="1" y="475"/>
                    <a:pt x="1" y="475"/>
                  </a:cubicBezTo>
                  <a:cubicBezTo>
                    <a:pt x="1" y="475"/>
                    <a:pt x="1" y="475"/>
                    <a:pt x="1" y="475"/>
                  </a:cubicBezTo>
                  <a:moveTo>
                    <a:pt x="1" y="475"/>
                  </a:moveTo>
                  <a:cubicBezTo>
                    <a:pt x="1" y="475"/>
                    <a:pt x="1" y="475"/>
                    <a:pt x="1" y="475"/>
                  </a:cubicBezTo>
                  <a:cubicBezTo>
                    <a:pt x="1" y="475"/>
                    <a:pt x="1" y="475"/>
                    <a:pt x="1" y="475"/>
                  </a:cubicBezTo>
                  <a:moveTo>
                    <a:pt x="1" y="475"/>
                  </a:moveTo>
                  <a:cubicBezTo>
                    <a:pt x="1" y="475"/>
                    <a:pt x="1" y="475"/>
                    <a:pt x="1" y="475"/>
                  </a:cubicBezTo>
                  <a:cubicBezTo>
                    <a:pt x="1" y="475"/>
                    <a:pt x="1" y="475"/>
                    <a:pt x="1" y="475"/>
                  </a:cubicBezTo>
                  <a:cubicBezTo>
                    <a:pt x="1" y="475"/>
                    <a:pt x="1" y="475"/>
                    <a:pt x="1" y="475"/>
                  </a:cubicBezTo>
                  <a:moveTo>
                    <a:pt x="1" y="474"/>
                  </a:moveTo>
                  <a:cubicBezTo>
                    <a:pt x="1" y="474"/>
                    <a:pt x="1" y="474"/>
                    <a:pt x="1" y="475"/>
                  </a:cubicBezTo>
                  <a:cubicBezTo>
                    <a:pt x="1" y="475"/>
                    <a:pt x="1" y="475"/>
                    <a:pt x="1" y="475"/>
                  </a:cubicBezTo>
                  <a:cubicBezTo>
                    <a:pt x="1" y="474"/>
                    <a:pt x="1" y="474"/>
                    <a:pt x="1" y="474"/>
                  </a:cubicBezTo>
                  <a:moveTo>
                    <a:pt x="1" y="474"/>
                  </a:moveTo>
                  <a:cubicBezTo>
                    <a:pt x="1" y="474"/>
                    <a:pt x="1" y="474"/>
                    <a:pt x="1" y="474"/>
                  </a:cubicBezTo>
                  <a:cubicBezTo>
                    <a:pt x="1" y="474"/>
                    <a:pt x="1" y="474"/>
                    <a:pt x="1" y="474"/>
                  </a:cubicBezTo>
                  <a:moveTo>
                    <a:pt x="0" y="473"/>
                  </a:moveTo>
                  <a:cubicBezTo>
                    <a:pt x="1" y="473"/>
                    <a:pt x="1" y="473"/>
                    <a:pt x="1" y="473"/>
                  </a:cubicBezTo>
                  <a:cubicBezTo>
                    <a:pt x="1" y="473"/>
                    <a:pt x="1" y="473"/>
                    <a:pt x="1" y="473"/>
                  </a:cubicBezTo>
                  <a:cubicBezTo>
                    <a:pt x="1" y="473"/>
                    <a:pt x="1" y="473"/>
                    <a:pt x="1" y="473"/>
                  </a:cubicBezTo>
                  <a:cubicBezTo>
                    <a:pt x="1" y="473"/>
                    <a:pt x="0" y="473"/>
                    <a:pt x="0" y="473"/>
                  </a:cubicBezTo>
                  <a:moveTo>
                    <a:pt x="0" y="473"/>
                  </a:moveTo>
                  <a:cubicBezTo>
                    <a:pt x="0" y="473"/>
                    <a:pt x="0" y="473"/>
                    <a:pt x="0" y="473"/>
                  </a:cubicBezTo>
                  <a:cubicBezTo>
                    <a:pt x="0" y="473"/>
                    <a:pt x="0" y="473"/>
                    <a:pt x="0" y="473"/>
                  </a:cubicBezTo>
                  <a:cubicBezTo>
                    <a:pt x="0" y="473"/>
                    <a:pt x="0" y="473"/>
                    <a:pt x="0" y="473"/>
                  </a:cubicBezTo>
                  <a:cubicBezTo>
                    <a:pt x="0" y="473"/>
                    <a:pt x="0" y="473"/>
                    <a:pt x="0" y="473"/>
                  </a:cubicBezTo>
                  <a:moveTo>
                    <a:pt x="0" y="472"/>
                  </a:moveTo>
                  <a:cubicBezTo>
                    <a:pt x="0" y="472"/>
                    <a:pt x="0" y="472"/>
                    <a:pt x="0" y="472"/>
                  </a:cubicBezTo>
                  <a:cubicBezTo>
                    <a:pt x="0" y="472"/>
                    <a:pt x="0" y="472"/>
                    <a:pt x="0" y="472"/>
                  </a:cubicBezTo>
                  <a:moveTo>
                    <a:pt x="0" y="472"/>
                  </a:moveTo>
                  <a:cubicBezTo>
                    <a:pt x="0" y="472"/>
                    <a:pt x="0" y="472"/>
                    <a:pt x="0" y="472"/>
                  </a:cubicBezTo>
                  <a:cubicBezTo>
                    <a:pt x="0" y="472"/>
                    <a:pt x="0" y="472"/>
                    <a:pt x="0" y="472"/>
                  </a:cubicBezTo>
                  <a:moveTo>
                    <a:pt x="0" y="471"/>
                  </a:moveTo>
                  <a:cubicBezTo>
                    <a:pt x="0" y="471"/>
                    <a:pt x="0" y="471"/>
                    <a:pt x="0" y="471"/>
                  </a:cubicBezTo>
                  <a:cubicBezTo>
                    <a:pt x="0" y="471"/>
                    <a:pt x="0" y="471"/>
                    <a:pt x="0" y="471"/>
                  </a:cubicBezTo>
                  <a:moveTo>
                    <a:pt x="0" y="471"/>
                  </a:moveTo>
                  <a:cubicBezTo>
                    <a:pt x="0" y="471"/>
                    <a:pt x="0" y="471"/>
                    <a:pt x="0" y="471"/>
                  </a:cubicBezTo>
                  <a:cubicBezTo>
                    <a:pt x="0" y="471"/>
                    <a:pt x="0" y="471"/>
                    <a:pt x="0" y="471"/>
                  </a:cubicBezTo>
                  <a:cubicBezTo>
                    <a:pt x="0" y="471"/>
                    <a:pt x="0" y="471"/>
                    <a:pt x="0" y="471"/>
                  </a:cubicBezTo>
                  <a:cubicBezTo>
                    <a:pt x="0" y="471"/>
                    <a:pt x="0" y="471"/>
                    <a:pt x="0" y="471"/>
                  </a:cubicBezTo>
                  <a:moveTo>
                    <a:pt x="0" y="470"/>
                  </a:moveTo>
                  <a:cubicBezTo>
                    <a:pt x="0" y="470"/>
                    <a:pt x="0" y="470"/>
                    <a:pt x="0" y="470"/>
                  </a:cubicBezTo>
                  <a:cubicBezTo>
                    <a:pt x="0" y="470"/>
                    <a:pt x="0" y="470"/>
                    <a:pt x="0" y="470"/>
                  </a:cubicBezTo>
                  <a:cubicBezTo>
                    <a:pt x="0" y="470"/>
                    <a:pt x="0" y="470"/>
                    <a:pt x="0" y="470"/>
                  </a:cubicBezTo>
                  <a:moveTo>
                    <a:pt x="0" y="470"/>
                  </a:moveTo>
                  <a:cubicBezTo>
                    <a:pt x="0" y="470"/>
                    <a:pt x="0" y="470"/>
                    <a:pt x="0" y="470"/>
                  </a:cubicBezTo>
                  <a:cubicBezTo>
                    <a:pt x="0" y="470"/>
                    <a:pt x="0" y="470"/>
                    <a:pt x="0" y="470"/>
                  </a:cubicBezTo>
                  <a:moveTo>
                    <a:pt x="0" y="469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0" y="469"/>
                    <a:pt x="0" y="469"/>
                    <a:pt x="0" y="469"/>
                  </a:cubicBezTo>
                  <a:moveTo>
                    <a:pt x="0" y="469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0" y="469"/>
                    <a:pt x="0" y="469"/>
                    <a:pt x="0" y="469"/>
                  </a:cubicBezTo>
                  <a:moveTo>
                    <a:pt x="0" y="468"/>
                  </a:moveTo>
                  <a:cubicBezTo>
                    <a:pt x="0" y="468"/>
                    <a:pt x="0" y="468"/>
                    <a:pt x="0" y="468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468"/>
                    <a:pt x="0" y="468"/>
                    <a:pt x="0" y="468"/>
                  </a:cubicBezTo>
                  <a:moveTo>
                    <a:pt x="0" y="468"/>
                  </a:moveTo>
                  <a:cubicBezTo>
                    <a:pt x="0" y="468"/>
                    <a:pt x="0" y="468"/>
                    <a:pt x="0" y="468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468"/>
                    <a:pt x="0" y="468"/>
                    <a:pt x="0" y="468"/>
                  </a:cubicBezTo>
                  <a:moveTo>
                    <a:pt x="0" y="467"/>
                  </a:moveTo>
                  <a:cubicBezTo>
                    <a:pt x="0" y="467"/>
                    <a:pt x="0" y="467"/>
                    <a:pt x="0" y="467"/>
                  </a:cubicBezTo>
                  <a:cubicBezTo>
                    <a:pt x="0" y="467"/>
                    <a:pt x="0" y="467"/>
                    <a:pt x="0" y="467"/>
                  </a:cubicBezTo>
                  <a:moveTo>
                    <a:pt x="0" y="467"/>
                  </a:moveTo>
                  <a:cubicBezTo>
                    <a:pt x="0" y="467"/>
                    <a:pt x="0" y="467"/>
                    <a:pt x="0" y="467"/>
                  </a:cubicBezTo>
                  <a:cubicBezTo>
                    <a:pt x="0" y="467"/>
                    <a:pt x="0" y="467"/>
                    <a:pt x="0" y="467"/>
                  </a:cubicBezTo>
                  <a:moveTo>
                    <a:pt x="0" y="466"/>
                  </a:moveTo>
                  <a:cubicBezTo>
                    <a:pt x="0" y="466"/>
                    <a:pt x="0" y="466"/>
                    <a:pt x="0" y="466"/>
                  </a:cubicBezTo>
                  <a:cubicBezTo>
                    <a:pt x="0" y="466"/>
                    <a:pt x="0" y="466"/>
                    <a:pt x="0" y="466"/>
                  </a:cubicBezTo>
                  <a:moveTo>
                    <a:pt x="0" y="466"/>
                  </a:moveTo>
                  <a:cubicBezTo>
                    <a:pt x="0" y="466"/>
                    <a:pt x="0" y="466"/>
                    <a:pt x="0" y="466"/>
                  </a:cubicBezTo>
                  <a:cubicBezTo>
                    <a:pt x="0" y="466"/>
                    <a:pt x="0" y="466"/>
                    <a:pt x="0" y="466"/>
                  </a:cubicBezTo>
                  <a:cubicBezTo>
                    <a:pt x="0" y="466"/>
                    <a:pt x="0" y="466"/>
                    <a:pt x="0" y="466"/>
                  </a:cubicBezTo>
                  <a:moveTo>
                    <a:pt x="0" y="465"/>
                  </a:moveTo>
                  <a:cubicBezTo>
                    <a:pt x="0" y="465"/>
                    <a:pt x="0" y="465"/>
                    <a:pt x="0" y="465"/>
                  </a:cubicBezTo>
                  <a:cubicBezTo>
                    <a:pt x="0" y="465"/>
                    <a:pt x="0" y="465"/>
                    <a:pt x="0" y="465"/>
                  </a:cubicBezTo>
                  <a:moveTo>
                    <a:pt x="0" y="465"/>
                  </a:moveTo>
                  <a:cubicBezTo>
                    <a:pt x="0" y="465"/>
                    <a:pt x="0" y="465"/>
                    <a:pt x="0" y="465"/>
                  </a:cubicBezTo>
                  <a:cubicBezTo>
                    <a:pt x="0" y="465"/>
                    <a:pt x="0" y="465"/>
                    <a:pt x="0" y="465"/>
                  </a:cubicBezTo>
                  <a:moveTo>
                    <a:pt x="0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464"/>
                    <a:pt x="0" y="464"/>
                    <a:pt x="0" y="464"/>
                  </a:cubicBezTo>
                  <a:moveTo>
                    <a:pt x="0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464"/>
                    <a:pt x="0" y="464"/>
                    <a:pt x="0" y="464"/>
                  </a:cubicBezTo>
                  <a:moveTo>
                    <a:pt x="0" y="463"/>
                  </a:moveTo>
                  <a:cubicBezTo>
                    <a:pt x="0" y="463"/>
                    <a:pt x="0" y="463"/>
                    <a:pt x="0" y="463"/>
                  </a:cubicBezTo>
                  <a:cubicBezTo>
                    <a:pt x="0" y="463"/>
                    <a:pt x="0" y="463"/>
                    <a:pt x="0" y="463"/>
                  </a:cubicBezTo>
                  <a:cubicBezTo>
                    <a:pt x="0" y="463"/>
                    <a:pt x="0" y="463"/>
                    <a:pt x="0" y="463"/>
                  </a:cubicBezTo>
                  <a:moveTo>
                    <a:pt x="0" y="463"/>
                  </a:moveTo>
                  <a:cubicBezTo>
                    <a:pt x="0" y="463"/>
                    <a:pt x="0" y="463"/>
                    <a:pt x="0" y="463"/>
                  </a:cubicBezTo>
                  <a:cubicBezTo>
                    <a:pt x="0" y="463"/>
                    <a:pt x="0" y="463"/>
                    <a:pt x="0" y="463"/>
                  </a:cubicBezTo>
                  <a:moveTo>
                    <a:pt x="0" y="462"/>
                  </a:moveTo>
                  <a:cubicBezTo>
                    <a:pt x="0" y="462"/>
                    <a:pt x="0" y="462"/>
                    <a:pt x="0" y="462"/>
                  </a:cubicBezTo>
                  <a:cubicBezTo>
                    <a:pt x="0" y="462"/>
                    <a:pt x="0" y="462"/>
                    <a:pt x="0" y="462"/>
                  </a:cubicBezTo>
                  <a:moveTo>
                    <a:pt x="0" y="461"/>
                  </a:moveTo>
                  <a:cubicBezTo>
                    <a:pt x="0" y="462"/>
                    <a:pt x="0" y="462"/>
                    <a:pt x="0" y="462"/>
                  </a:cubicBezTo>
                  <a:cubicBezTo>
                    <a:pt x="0" y="462"/>
                    <a:pt x="0" y="462"/>
                    <a:pt x="0" y="461"/>
                  </a:cubicBezTo>
                  <a:moveTo>
                    <a:pt x="0" y="460"/>
                  </a:moveTo>
                  <a:cubicBezTo>
                    <a:pt x="0" y="460"/>
                    <a:pt x="0" y="460"/>
                    <a:pt x="0" y="461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0" y="461"/>
                    <a:pt x="0" y="460"/>
                    <a:pt x="0" y="460"/>
                  </a:cubicBezTo>
                  <a:cubicBezTo>
                    <a:pt x="0" y="460"/>
                    <a:pt x="0" y="460"/>
                    <a:pt x="0" y="460"/>
                  </a:cubicBezTo>
                  <a:moveTo>
                    <a:pt x="0" y="459"/>
                  </a:moveTo>
                  <a:cubicBezTo>
                    <a:pt x="0" y="459"/>
                    <a:pt x="0" y="459"/>
                    <a:pt x="0" y="459"/>
                  </a:cubicBezTo>
                  <a:cubicBezTo>
                    <a:pt x="0" y="459"/>
                    <a:pt x="0" y="459"/>
                    <a:pt x="0" y="460"/>
                  </a:cubicBezTo>
                  <a:cubicBezTo>
                    <a:pt x="0" y="459"/>
                    <a:pt x="0" y="459"/>
                    <a:pt x="0" y="459"/>
                  </a:cubicBezTo>
                  <a:moveTo>
                    <a:pt x="0" y="458"/>
                  </a:moveTo>
                  <a:cubicBezTo>
                    <a:pt x="0" y="458"/>
                    <a:pt x="0" y="458"/>
                    <a:pt x="0" y="458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0" y="458"/>
                    <a:pt x="0" y="458"/>
                    <a:pt x="0" y="458"/>
                  </a:cubicBezTo>
                  <a:moveTo>
                    <a:pt x="0" y="457"/>
                  </a:moveTo>
                  <a:cubicBezTo>
                    <a:pt x="0" y="457"/>
                    <a:pt x="0" y="457"/>
                    <a:pt x="0" y="457"/>
                  </a:cubicBezTo>
                  <a:cubicBezTo>
                    <a:pt x="0" y="457"/>
                    <a:pt x="0" y="457"/>
                    <a:pt x="0" y="457"/>
                  </a:cubicBezTo>
                  <a:cubicBezTo>
                    <a:pt x="0" y="457"/>
                    <a:pt x="0" y="457"/>
                    <a:pt x="0" y="457"/>
                  </a:cubicBezTo>
                  <a:moveTo>
                    <a:pt x="0" y="457"/>
                  </a:moveTo>
                  <a:cubicBezTo>
                    <a:pt x="0" y="457"/>
                    <a:pt x="0" y="457"/>
                    <a:pt x="0" y="457"/>
                  </a:cubicBezTo>
                  <a:cubicBezTo>
                    <a:pt x="0" y="457"/>
                    <a:pt x="0" y="457"/>
                    <a:pt x="0" y="457"/>
                  </a:cubicBezTo>
                  <a:cubicBezTo>
                    <a:pt x="0" y="457"/>
                    <a:pt x="0" y="457"/>
                    <a:pt x="0" y="457"/>
                  </a:cubicBezTo>
                  <a:moveTo>
                    <a:pt x="0" y="456"/>
                  </a:moveTo>
                  <a:cubicBezTo>
                    <a:pt x="0" y="456"/>
                    <a:pt x="0" y="456"/>
                    <a:pt x="0" y="456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56"/>
                    <a:pt x="0" y="456"/>
                    <a:pt x="0" y="456"/>
                  </a:cubicBezTo>
                  <a:moveTo>
                    <a:pt x="0" y="456"/>
                  </a:moveTo>
                  <a:cubicBezTo>
                    <a:pt x="0" y="456"/>
                    <a:pt x="0" y="456"/>
                    <a:pt x="0" y="456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0" y="456"/>
                    <a:pt x="0" y="456"/>
                    <a:pt x="0" y="456"/>
                  </a:cubicBezTo>
                  <a:moveTo>
                    <a:pt x="0" y="455"/>
                  </a:moveTo>
                  <a:cubicBezTo>
                    <a:pt x="0" y="455"/>
                    <a:pt x="0" y="455"/>
                    <a:pt x="0" y="455"/>
                  </a:cubicBezTo>
                  <a:cubicBezTo>
                    <a:pt x="0" y="455"/>
                    <a:pt x="0" y="455"/>
                    <a:pt x="0" y="455"/>
                  </a:cubicBezTo>
                  <a:cubicBezTo>
                    <a:pt x="0" y="455"/>
                    <a:pt x="0" y="455"/>
                    <a:pt x="0" y="455"/>
                  </a:cubicBezTo>
                  <a:moveTo>
                    <a:pt x="0" y="455"/>
                  </a:moveTo>
                  <a:cubicBezTo>
                    <a:pt x="0" y="455"/>
                    <a:pt x="0" y="455"/>
                    <a:pt x="0" y="455"/>
                  </a:cubicBezTo>
                  <a:cubicBezTo>
                    <a:pt x="0" y="455"/>
                    <a:pt x="0" y="455"/>
                    <a:pt x="0" y="455"/>
                  </a:cubicBezTo>
                  <a:cubicBezTo>
                    <a:pt x="0" y="455"/>
                    <a:pt x="0" y="455"/>
                    <a:pt x="0" y="455"/>
                  </a:cubicBezTo>
                  <a:moveTo>
                    <a:pt x="0" y="454"/>
                  </a:moveTo>
                  <a:cubicBezTo>
                    <a:pt x="0" y="454"/>
                    <a:pt x="0" y="454"/>
                    <a:pt x="0" y="454"/>
                  </a:cubicBezTo>
                  <a:cubicBezTo>
                    <a:pt x="0" y="454"/>
                    <a:pt x="0" y="454"/>
                    <a:pt x="0" y="454"/>
                  </a:cubicBezTo>
                  <a:cubicBezTo>
                    <a:pt x="0" y="454"/>
                    <a:pt x="0" y="454"/>
                    <a:pt x="0" y="454"/>
                  </a:cubicBezTo>
                  <a:cubicBezTo>
                    <a:pt x="0" y="454"/>
                    <a:pt x="0" y="454"/>
                    <a:pt x="0" y="454"/>
                  </a:cubicBezTo>
                  <a:moveTo>
                    <a:pt x="0" y="453"/>
                  </a:moveTo>
                  <a:cubicBezTo>
                    <a:pt x="0" y="453"/>
                    <a:pt x="0" y="453"/>
                    <a:pt x="0" y="454"/>
                  </a:cubicBezTo>
                  <a:cubicBezTo>
                    <a:pt x="0" y="454"/>
                    <a:pt x="0" y="454"/>
                    <a:pt x="0" y="454"/>
                  </a:cubicBezTo>
                  <a:cubicBezTo>
                    <a:pt x="0" y="454"/>
                    <a:pt x="0" y="454"/>
                    <a:pt x="0" y="454"/>
                  </a:cubicBezTo>
                  <a:cubicBezTo>
                    <a:pt x="0" y="454"/>
                    <a:pt x="0" y="454"/>
                    <a:pt x="0" y="454"/>
                  </a:cubicBezTo>
                  <a:cubicBezTo>
                    <a:pt x="0" y="454"/>
                    <a:pt x="0" y="453"/>
                    <a:pt x="0" y="453"/>
                  </a:cubicBezTo>
                  <a:moveTo>
                    <a:pt x="0" y="453"/>
                  </a:moveTo>
                  <a:cubicBezTo>
                    <a:pt x="0" y="453"/>
                    <a:pt x="0" y="453"/>
                    <a:pt x="0" y="453"/>
                  </a:cubicBezTo>
                  <a:cubicBezTo>
                    <a:pt x="0" y="453"/>
                    <a:pt x="0" y="453"/>
                    <a:pt x="0" y="453"/>
                  </a:cubicBezTo>
                  <a:cubicBezTo>
                    <a:pt x="0" y="453"/>
                    <a:pt x="0" y="453"/>
                    <a:pt x="0" y="453"/>
                  </a:cubicBezTo>
                  <a:cubicBezTo>
                    <a:pt x="0" y="453"/>
                    <a:pt x="0" y="453"/>
                    <a:pt x="0" y="453"/>
                  </a:cubicBezTo>
                  <a:moveTo>
                    <a:pt x="0" y="452"/>
                  </a:moveTo>
                  <a:cubicBezTo>
                    <a:pt x="0" y="452"/>
                    <a:pt x="0" y="452"/>
                    <a:pt x="0" y="453"/>
                  </a:cubicBezTo>
                  <a:cubicBezTo>
                    <a:pt x="0" y="453"/>
                    <a:pt x="0" y="453"/>
                    <a:pt x="0" y="453"/>
                  </a:cubicBezTo>
                  <a:cubicBezTo>
                    <a:pt x="0" y="453"/>
                    <a:pt x="0" y="453"/>
                    <a:pt x="0" y="453"/>
                  </a:cubicBezTo>
                  <a:cubicBezTo>
                    <a:pt x="0" y="453"/>
                    <a:pt x="0" y="452"/>
                    <a:pt x="0" y="452"/>
                  </a:cubicBezTo>
                  <a:moveTo>
                    <a:pt x="0" y="452"/>
                  </a:moveTo>
                  <a:cubicBezTo>
                    <a:pt x="0" y="452"/>
                    <a:pt x="0" y="452"/>
                    <a:pt x="0" y="452"/>
                  </a:cubicBezTo>
                  <a:cubicBezTo>
                    <a:pt x="0" y="452"/>
                    <a:pt x="0" y="452"/>
                    <a:pt x="0" y="452"/>
                  </a:cubicBezTo>
                  <a:cubicBezTo>
                    <a:pt x="0" y="452"/>
                    <a:pt x="0" y="452"/>
                    <a:pt x="0" y="452"/>
                  </a:cubicBezTo>
                  <a:cubicBezTo>
                    <a:pt x="0" y="452"/>
                    <a:pt x="0" y="452"/>
                    <a:pt x="0" y="452"/>
                  </a:cubicBezTo>
                  <a:moveTo>
                    <a:pt x="0" y="451"/>
                  </a:moveTo>
                  <a:cubicBezTo>
                    <a:pt x="0" y="451"/>
                    <a:pt x="0" y="452"/>
                    <a:pt x="0" y="452"/>
                  </a:cubicBezTo>
                  <a:cubicBezTo>
                    <a:pt x="0" y="452"/>
                    <a:pt x="0" y="451"/>
                    <a:pt x="0" y="451"/>
                  </a:cubicBezTo>
                  <a:moveTo>
                    <a:pt x="0" y="451"/>
                  </a:moveTo>
                  <a:cubicBezTo>
                    <a:pt x="0" y="451"/>
                    <a:pt x="0" y="451"/>
                    <a:pt x="0" y="451"/>
                  </a:cubicBezTo>
                  <a:cubicBezTo>
                    <a:pt x="0" y="451"/>
                    <a:pt x="0" y="451"/>
                    <a:pt x="0" y="451"/>
                  </a:cubicBezTo>
                  <a:moveTo>
                    <a:pt x="0" y="450"/>
                  </a:moveTo>
                  <a:cubicBezTo>
                    <a:pt x="0" y="450"/>
                    <a:pt x="0" y="451"/>
                    <a:pt x="0" y="451"/>
                  </a:cubicBezTo>
                  <a:cubicBezTo>
                    <a:pt x="0" y="451"/>
                    <a:pt x="0" y="450"/>
                    <a:pt x="0" y="450"/>
                  </a:cubicBezTo>
                  <a:moveTo>
                    <a:pt x="0" y="450"/>
                  </a:moveTo>
                  <a:cubicBezTo>
                    <a:pt x="0" y="450"/>
                    <a:pt x="0" y="450"/>
                    <a:pt x="0" y="450"/>
                  </a:cubicBezTo>
                  <a:cubicBezTo>
                    <a:pt x="0" y="450"/>
                    <a:pt x="0" y="450"/>
                    <a:pt x="0" y="450"/>
                  </a:cubicBezTo>
                  <a:moveTo>
                    <a:pt x="0" y="449"/>
                  </a:moveTo>
                  <a:cubicBezTo>
                    <a:pt x="0" y="449"/>
                    <a:pt x="0" y="449"/>
                    <a:pt x="0" y="449"/>
                  </a:cubicBezTo>
                  <a:cubicBezTo>
                    <a:pt x="0" y="449"/>
                    <a:pt x="0" y="449"/>
                    <a:pt x="0" y="449"/>
                  </a:cubicBezTo>
                  <a:moveTo>
                    <a:pt x="1" y="449"/>
                  </a:moveTo>
                  <a:cubicBezTo>
                    <a:pt x="1" y="449"/>
                    <a:pt x="1" y="449"/>
                    <a:pt x="1" y="449"/>
                  </a:cubicBezTo>
                  <a:cubicBezTo>
                    <a:pt x="1" y="449"/>
                    <a:pt x="1" y="449"/>
                    <a:pt x="1" y="449"/>
                  </a:cubicBezTo>
                  <a:moveTo>
                    <a:pt x="1" y="448"/>
                  </a:moveTo>
                  <a:cubicBezTo>
                    <a:pt x="1" y="448"/>
                    <a:pt x="1" y="448"/>
                    <a:pt x="1" y="448"/>
                  </a:cubicBezTo>
                  <a:cubicBezTo>
                    <a:pt x="1" y="448"/>
                    <a:pt x="1" y="448"/>
                    <a:pt x="1" y="448"/>
                  </a:cubicBezTo>
                  <a:moveTo>
                    <a:pt x="1" y="448"/>
                  </a:moveTo>
                  <a:cubicBezTo>
                    <a:pt x="1" y="448"/>
                    <a:pt x="1" y="448"/>
                    <a:pt x="1" y="448"/>
                  </a:cubicBezTo>
                  <a:cubicBezTo>
                    <a:pt x="1" y="448"/>
                    <a:pt x="1" y="448"/>
                    <a:pt x="1" y="448"/>
                  </a:cubicBezTo>
                  <a:moveTo>
                    <a:pt x="1" y="447"/>
                  </a:moveTo>
                  <a:cubicBezTo>
                    <a:pt x="1" y="447"/>
                    <a:pt x="1" y="447"/>
                    <a:pt x="1" y="447"/>
                  </a:cubicBezTo>
                  <a:cubicBezTo>
                    <a:pt x="1" y="447"/>
                    <a:pt x="1" y="447"/>
                    <a:pt x="1" y="447"/>
                  </a:cubicBezTo>
                  <a:moveTo>
                    <a:pt x="1" y="447"/>
                  </a:moveTo>
                  <a:cubicBezTo>
                    <a:pt x="1" y="447"/>
                    <a:pt x="1" y="447"/>
                    <a:pt x="1" y="447"/>
                  </a:cubicBezTo>
                  <a:cubicBezTo>
                    <a:pt x="1" y="447"/>
                    <a:pt x="1" y="447"/>
                    <a:pt x="1" y="447"/>
                  </a:cubicBezTo>
                  <a:moveTo>
                    <a:pt x="1" y="446"/>
                  </a:moveTo>
                  <a:cubicBezTo>
                    <a:pt x="1" y="446"/>
                    <a:pt x="1" y="446"/>
                    <a:pt x="1" y="446"/>
                  </a:cubicBezTo>
                  <a:cubicBezTo>
                    <a:pt x="1" y="446"/>
                    <a:pt x="1" y="446"/>
                    <a:pt x="1" y="446"/>
                  </a:cubicBezTo>
                  <a:moveTo>
                    <a:pt x="1" y="446"/>
                  </a:moveTo>
                  <a:cubicBezTo>
                    <a:pt x="1" y="446"/>
                    <a:pt x="1" y="446"/>
                    <a:pt x="1" y="446"/>
                  </a:cubicBezTo>
                  <a:cubicBezTo>
                    <a:pt x="1" y="446"/>
                    <a:pt x="1" y="446"/>
                    <a:pt x="1" y="446"/>
                  </a:cubicBezTo>
                  <a:moveTo>
                    <a:pt x="1" y="445"/>
                  </a:moveTo>
                  <a:cubicBezTo>
                    <a:pt x="1" y="445"/>
                    <a:pt x="1" y="445"/>
                    <a:pt x="1" y="445"/>
                  </a:cubicBezTo>
                  <a:cubicBezTo>
                    <a:pt x="1" y="445"/>
                    <a:pt x="1" y="445"/>
                    <a:pt x="1" y="445"/>
                  </a:cubicBezTo>
                  <a:moveTo>
                    <a:pt x="1" y="445"/>
                  </a:moveTo>
                  <a:cubicBezTo>
                    <a:pt x="1" y="445"/>
                    <a:pt x="1" y="445"/>
                    <a:pt x="1" y="445"/>
                  </a:cubicBezTo>
                  <a:cubicBezTo>
                    <a:pt x="1" y="445"/>
                    <a:pt x="1" y="445"/>
                    <a:pt x="1" y="445"/>
                  </a:cubicBezTo>
                  <a:moveTo>
                    <a:pt x="1" y="444"/>
                  </a:moveTo>
                  <a:cubicBezTo>
                    <a:pt x="1" y="444"/>
                    <a:pt x="1" y="444"/>
                    <a:pt x="1" y="444"/>
                  </a:cubicBezTo>
                  <a:cubicBezTo>
                    <a:pt x="1" y="444"/>
                    <a:pt x="1" y="444"/>
                    <a:pt x="1" y="444"/>
                  </a:cubicBezTo>
                  <a:moveTo>
                    <a:pt x="1" y="443"/>
                  </a:moveTo>
                  <a:cubicBezTo>
                    <a:pt x="1" y="443"/>
                    <a:pt x="1" y="444"/>
                    <a:pt x="1" y="444"/>
                  </a:cubicBezTo>
                  <a:cubicBezTo>
                    <a:pt x="1" y="444"/>
                    <a:pt x="1" y="443"/>
                    <a:pt x="1" y="443"/>
                  </a:cubicBezTo>
                  <a:moveTo>
                    <a:pt x="1" y="443"/>
                  </a:moveTo>
                  <a:cubicBezTo>
                    <a:pt x="1" y="443"/>
                    <a:pt x="1" y="443"/>
                    <a:pt x="1" y="443"/>
                  </a:cubicBezTo>
                  <a:cubicBezTo>
                    <a:pt x="1" y="443"/>
                    <a:pt x="1" y="443"/>
                    <a:pt x="1" y="443"/>
                  </a:cubicBezTo>
                  <a:moveTo>
                    <a:pt x="1" y="442"/>
                  </a:moveTo>
                  <a:cubicBezTo>
                    <a:pt x="1" y="442"/>
                    <a:pt x="1" y="442"/>
                    <a:pt x="1" y="443"/>
                  </a:cubicBezTo>
                  <a:cubicBezTo>
                    <a:pt x="1" y="442"/>
                    <a:pt x="1" y="442"/>
                    <a:pt x="1" y="442"/>
                  </a:cubicBezTo>
                  <a:moveTo>
                    <a:pt x="1" y="442"/>
                  </a:moveTo>
                  <a:cubicBezTo>
                    <a:pt x="1" y="442"/>
                    <a:pt x="1" y="442"/>
                    <a:pt x="1" y="442"/>
                  </a:cubicBezTo>
                  <a:cubicBezTo>
                    <a:pt x="1" y="442"/>
                    <a:pt x="1" y="442"/>
                    <a:pt x="1" y="442"/>
                  </a:cubicBezTo>
                  <a:moveTo>
                    <a:pt x="1" y="441"/>
                  </a:moveTo>
                  <a:cubicBezTo>
                    <a:pt x="1" y="441"/>
                    <a:pt x="1" y="441"/>
                    <a:pt x="1" y="442"/>
                  </a:cubicBezTo>
                  <a:cubicBezTo>
                    <a:pt x="1" y="441"/>
                    <a:pt x="1" y="441"/>
                    <a:pt x="1" y="441"/>
                  </a:cubicBezTo>
                  <a:moveTo>
                    <a:pt x="1" y="441"/>
                  </a:moveTo>
                  <a:cubicBezTo>
                    <a:pt x="1" y="441"/>
                    <a:pt x="1" y="441"/>
                    <a:pt x="1" y="441"/>
                  </a:cubicBezTo>
                  <a:cubicBezTo>
                    <a:pt x="1" y="441"/>
                    <a:pt x="1" y="441"/>
                    <a:pt x="1" y="441"/>
                  </a:cubicBezTo>
                  <a:moveTo>
                    <a:pt x="1" y="440"/>
                  </a:moveTo>
                  <a:cubicBezTo>
                    <a:pt x="1" y="440"/>
                    <a:pt x="1" y="440"/>
                    <a:pt x="1" y="441"/>
                  </a:cubicBezTo>
                  <a:cubicBezTo>
                    <a:pt x="1" y="440"/>
                    <a:pt x="1" y="440"/>
                    <a:pt x="1" y="440"/>
                  </a:cubicBezTo>
                  <a:moveTo>
                    <a:pt x="1" y="440"/>
                  </a:moveTo>
                  <a:cubicBezTo>
                    <a:pt x="1" y="440"/>
                    <a:pt x="1" y="440"/>
                    <a:pt x="1" y="440"/>
                  </a:cubicBezTo>
                  <a:cubicBezTo>
                    <a:pt x="1" y="440"/>
                    <a:pt x="1" y="440"/>
                    <a:pt x="1" y="440"/>
                  </a:cubicBezTo>
                  <a:moveTo>
                    <a:pt x="1" y="439"/>
                  </a:moveTo>
                  <a:cubicBezTo>
                    <a:pt x="1" y="439"/>
                    <a:pt x="1" y="439"/>
                    <a:pt x="1" y="440"/>
                  </a:cubicBezTo>
                  <a:cubicBezTo>
                    <a:pt x="1" y="439"/>
                    <a:pt x="1" y="439"/>
                    <a:pt x="1" y="439"/>
                  </a:cubicBezTo>
                  <a:moveTo>
                    <a:pt x="1" y="439"/>
                  </a:moveTo>
                  <a:cubicBezTo>
                    <a:pt x="1" y="439"/>
                    <a:pt x="1" y="439"/>
                    <a:pt x="1" y="439"/>
                  </a:cubicBezTo>
                  <a:cubicBezTo>
                    <a:pt x="1" y="439"/>
                    <a:pt x="1" y="439"/>
                    <a:pt x="1" y="439"/>
                  </a:cubicBezTo>
                  <a:moveTo>
                    <a:pt x="1" y="437"/>
                  </a:moveTo>
                  <a:cubicBezTo>
                    <a:pt x="1" y="438"/>
                    <a:pt x="1" y="438"/>
                    <a:pt x="1" y="439"/>
                  </a:cubicBezTo>
                  <a:cubicBezTo>
                    <a:pt x="1" y="438"/>
                    <a:pt x="1" y="438"/>
                    <a:pt x="1" y="437"/>
                  </a:cubicBezTo>
                  <a:moveTo>
                    <a:pt x="1" y="437"/>
                  </a:moveTo>
                  <a:cubicBezTo>
                    <a:pt x="1" y="437"/>
                    <a:pt x="1" y="437"/>
                    <a:pt x="1" y="437"/>
                  </a:cubicBezTo>
                  <a:cubicBezTo>
                    <a:pt x="1" y="437"/>
                    <a:pt x="1" y="437"/>
                    <a:pt x="1" y="437"/>
                  </a:cubicBezTo>
                  <a:moveTo>
                    <a:pt x="1" y="436"/>
                  </a:moveTo>
                  <a:cubicBezTo>
                    <a:pt x="1" y="437"/>
                    <a:pt x="1" y="437"/>
                    <a:pt x="1" y="437"/>
                  </a:cubicBezTo>
                  <a:cubicBezTo>
                    <a:pt x="1" y="437"/>
                    <a:pt x="1" y="437"/>
                    <a:pt x="1" y="436"/>
                  </a:cubicBezTo>
                  <a:moveTo>
                    <a:pt x="1" y="436"/>
                  </a:moveTo>
                  <a:cubicBezTo>
                    <a:pt x="1" y="436"/>
                    <a:pt x="1" y="436"/>
                    <a:pt x="1" y="436"/>
                  </a:cubicBezTo>
                  <a:cubicBezTo>
                    <a:pt x="1" y="436"/>
                    <a:pt x="1" y="436"/>
                    <a:pt x="1" y="436"/>
                  </a:cubicBezTo>
                  <a:moveTo>
                    <a:pt x="1" y="435"/>
                  </a:moveTo>
                  <a:cubicBezTo>
                    <a:pt x="1" y="436"/>
                    <a:pt x="1" y="436"/>
                    <a:pt x="1" y="436"/>
                  </a:cubicBezTo>
                  <a:cubicBezTo>
                    <a:pt x="1" y="436"/>
                    <a:pt x="1" y="436"/>
                    <a:pt x="1" y="435"/>
                  </a:cubicBezTo>
                  <a:moveTo>
                    <a:pt x="1" y="435"/>
                  </a:moveTo>
                  <a:cubicBezTo>
                    <a:pt x="1" y="435"/>
                    <a:pt x="1" y="435"/>
                    <a:pt x="1" y="435"/>
                  </a:cubicBezTo>
                  <a:cubicBezTo>
                    <a:pt x="1" y="435"/>
                    <a:pt x="1" y="435"/>
                    <a:pt x="1" y="435"/>
                  </a:cubicBezTo>
                  <a:moveTo>
                    <a:pt x="1" y="434"/>
                  </a:moveTo>
                  <a:cubicBezTo>
                    <a:pt x="1" y="434"/>
                    <a:pt x="1" y="435"/>
                    <a:pt x="1" y="435"/>
                  </a:cubicBezTo>
                  <a:cubicBezTo>
                    <a:pt x="1" y="435"/>
                    <a:pt x="1" y="434"/>
                    <a:pt x="1" y="434"/>
                  </a:cubicBezTo>
                  <a:moveTo>
                    <a:pt x="1" y="434"/>
                  </a:moveTo>
                  <a:cubicBezTo>
                    <a:pt x="1" y="434"/>
                    <a:pt x="1" y="434"/>
                    <a:pt x="1" y="434"/>
                  </a:cubicBezTo>
                  <a:cubicBezTo>
                    <a:pt x="1" y="434"/>
                    <a:pt x="1" y="434"/>
                    <a:pt x="1" y="434"/>
                  </a:cubicBezTo>
                  <a:moveTo>
                    <a:pt x="1" y="433"/>
                  </a:moveTo>
                  <a:cubicBezTo>
                    <a:pt x="1" y="434"/>
                    <a:pt x="1" y="434"/>
                    <a:pt x="1" y="434"/>
                  </a:cubicBezTo>
                  <a:cubicBezTo>
                    <a:pt x="1" y="434"/>
                    <a:pt x="1" y="434"/>
                    <a:pt x="1" y="433"/>
                  </a:cubicBezTo>
                  <a:moveTo>
                    <a:pt x="1" y="431"/>
                  </a:moveTo>
                  <a:cubicBezTo>
                    <a:pt x="1" y="431"/>
                    <a:pt x="1" y="432"/>
                    <a:pt x="1" y="433"/>
                  </a:cubicBezTo>
                  <a:cubicBezTo>
                    <a:pt x="1" y="432"/>
                    <a:pt x="1" y="431"/>
                    <a:pt x="1" y="431"/>
                  </a:cubicBezTo>
                  <a:moveTo>
                    <a:pt x="1" y="430"/>
                  </a:moveTo>
                  <a:cubicBezTo>
                    <a:pt x="1" y="430"/>
                    <a:pt x="1" y="430"/>
                    <a:pt x="1" y="430"/>
                  </a:cubicBezTo>
                  <a:cubicBezTo>
                    <a:pt x="1" y="430"/>
                    <a:pt x="1" y="430"/>
                    <a:pt x="1" y="430"/>
                  </a:cubicBezTo>
                  <a:moveTo>
                    <a:pt x="1" y="430"/>
                  </a:moveTo>
                  <a:cubicBezTo>
                    <a:pt x="1" y="430"/>
                    <a:pt x="1" y="430"/>
                    <a:pt x="1" y="430"/>
                  </a:cubicBezTo>
                  <a:cubicBezTo>
                    <a:pt x="1" y="430"/>
                    <a:pt x="1" y="430"/>
                    <a:pt x="1" y="430"/>
                  </a:cubicBezTo>
                  <a:moveTo>
                    <a:pt x="1" y="429"/>
                  </a:moveTo>
                  <a:cubicBezTo>
                    <a:pt x="1" y="429"/>
                    <a:pt x="1" y="429"/>
                    <a:pt x="1" y="429"/>
                  </a:cubicBezTo>
                  <a:cubicBezTo>
                    <a:pt x="1" y="429"/>
                    <a:pt x="1" y="429"/>
                    <a:pt x="1" y="429"/>
                  </a:cubicBezTo>
                  <a:moveTo>
                    <a:pt x="1" y="429"/>
                  </a:moveTo>
                  <a:cubicBezTo>
                    <a:pt x="1" y="429"/>
                    <a:pt x="1" y="429"/>
                    <a:pt x="1" y="429"/>
                  </a:cubicBezTo>
                  <a:cubicBezTo>
                    <a:pt x="1" y="429"/>
                    <a:pt x="1" y="429"/>
                    <a:pt x="1" y="429"/>
                  </a:cubicBezTo>
                  <a:moveTo>
                    <a:pt x="1" y="428"/>
                  </a:moveTo>
                  <a:cubicBezTo>
                    <a:pt x="1" y="428"/>
                    <a:pt x="1" y="428"/>
                    <a:pt x="1" y="428"/>
                  </a:cubicBezTo>
                  <a:cubicBezTo>
                    <a:pt x="1" y="428"/>
                    <a:pt x="1" y="428"/>
                    <a:pt x="1" y="428"/>
                  </a:cubicBezTo>
                  <a:moveTo>
                    <a:pt x="1" y="424"/>
                  </a:moveTo>
                  <a:cubicBezTo>
                    <a:pt x="1" y="425"/>
                    <a:pt x="1" y="427"/>
                    <a:pt x="1" y="428"/>
                  </a:cubicBezTo>
                  <a:cubicBezTo>
                    <a:pt x="1" y="427"/>
                    <a:pt x="1" y="425"/>
                    <a:pt x="1" y="424"/>
                  </a:cubicBezTo>
                  <a:moveTo>
                    <a:pt x="2" y="423"/>
                  </a:moveTo>
                  <a:cubicBezTo>
                    <a:pt x="1" y="423"/>
                    <a:pt x="1" y="424"/>
                    <a:pt x="1" y="424"/>
                  </a:cubicBezTo>
                  <a:cubicBezTo>
                    <a:pt x="1" y="424"/>
                    <a:pt x="1" y="423"/>
                    <a:pt x="2" y="423"/>
                  </a:cubicBezTo>
                  <a:moveTo>
                    <a:pt x="201" y="0"/>
                  </a:moveTo>
                  <a:cubicBezTo>
                    <a:pt x="86" y="107"/>
                    <a:pt x="11" y="257"/>
                    <a:pt x="2" y="423"/>
                  </a:cubicBezTo>
                  <a:cubicBezTo>
                    <a:pt x="10" y="272"/>
                    <a:pt x="73" y="135"/>
                    <a:pt x="170" y="30"/>
                  </a:cubicBezTo>
                  <a:cubicBezTo>
                    <a:pt x="172" y="38"/>
                    <a:pt x="173" y="46"/>
                    <a:pt x="175" y="54"/>
                  </a:cubicBezTo>
                  <a:cubicBezTo>
                    <a:pt x="183" y="36"/>
                    <a:pt x="191" y="18"/>
                    <a:pt x="201" y="0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5">
              <a:extLst>
                <a:ext uri="{FF2B5EF4-FFF2-40B4-BE49-F238E27FC236}">
                  <a16:creationId xmlns="" xmlns:a16="http://schemas.microsoft.com/office/drawing/2014/main" id="{0646712C-1765-45FC-9291-573FD231FB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0400" y="1879601"/>
              <a:ext cx="1335088" cy="2989263"/>
            </a:xfrm>
            <a:custGeom>
              <a:avLst/>
              <a:gdLst>
                <a:gd name="T0" fmla="*/ 183 w 447"/>
                <a:gd name="T1" fmla="*/ 535 h 1002"/>
                <a:gd name="T2" fmla="*/ 1 w 447"/>
                <a:gd name="T3" fmla="*/ 456 h 1002"/>
                <a:gd name="T4" fmla="*/ 1 w 447"/>
                <a:gd name="T5" fmla="*/ 451 h 1002"/>
                <a:gd name="T6" fmla="*/ 1 w 447"/>
                <a:gd name="T7" fmla="*/ 450 h 1002"/>
                <a:gd name="T8" fmla="*/ 1 w 447"/>
                <a:gd name="T9" fmla="*/ 449 h 1002"/>
                <a:gd name="T10" fmla="*/ 1 w 447"/>
                <a:gd name="T11" fmla="*/ 448 h 1002"/>
                <a:gd name="T12" fmla="*/ 1 w 447"/>
                <a:gd name="T13" fmla="*/ 447 h 1002"/>
                <a:gd name="T14" fmla="*/ 1 w 447"/>
                <a:gd name="T15" fmla="*/ 446 h 1002"/>
                <a:gd name="T16" fmla="*/ 1 w 447"/>
                <a:gd name="T17" fmla="*/ 446 h 1002"/>
                <a:gd name="T18" fmla="*/ 1 w 447"/>
                <a:gd name="T19" fmla="*/ 445 h 1002"/>
                <a:gd name="T20" fmla="*/ 1 w 447"/>
                <a:gd name="T21" fmla="*/ 445 h 1002"/>
                <a:gd name="T22" fmla="*/ 1 w 447"/>
                <a:gd name="T23" fmla="*/ 445 h 1002"/>
                <a:gd name="T24" fmla="*/ 1 w 447"/>
                <a:gd name="T25" fmla="*/ 444 h 1002"/>
                <a:gd name="T26" fmla="*/ 0 w 447"/>
                <a:gd name="T27" fmla="*/ 443 h 1002"/>
                <a:gd name="T28" fmla="*/ 0 w 447"/>
                <a:gd name="T29" fmla="*/ 442 h 1002"/>
                <a:gd name="T30" fmla="*/ 0 w 447"/>
                <a:gd name="T31" fmla="*/ 442 h 1002"/>
                <a:gd name="T32" fmla="*/ 0 w 447"/>
                <a:gd name="T33" fmla="*/ 441 h 1002"/>
                <a:gd name="T34" fmla="*/ 0 w 447"/>
                <a:gd name="T35" fmla="*/ 440 h 1002"/>
                <a:gd name="T36" fmla="*/ 0 w 447"/>
                <a:gd name="T37" fmla="*/ 440 h 1002"/>
                <a:gd name="T38" fmla="*/ 0 w 447"/>
                <a:gd name="T39" fmla="*/ 439 h 1002"/>
                <a:gd name="T40" fmla="*/ 0 w 447"/>
                <a:gd name="T41" fmla="*/ 438 h 1002"/>
                <a:gd name="T42" fmla="*/ 0 w 447"/>
                <a:gd name="T43" fmla="*/ 438 h 1002"/>
                <a:gd name="T44" fmla="*/ 0 w 447"/>
                <a:gd name="T45" fmla="*/ 438 h 1002"/>
                <a:gd name="T46" fmla="*/ 0 w 447"/>
                <a:gd name="T47" fmla="*/ 437 h 1002"/>
                <a:gd name="T48" fmla="*/ 0 w 447"/>
                <a:gd name="T49" fmla="*/ 436 h 1002"/>
                <a:gd name="T50" fmla="*/ 0 w 447"/>
                <a:gd name="T51" fmla="*/ 436 h 1002"/>
                <a:gd name="T52" fmla="*/ 0 w 447"/>
                <a:gd name="T53" fmla="*/ 435 h 1002"/>
                <a:gd name="T54" fmla="*/ 0 w 447"/>
                <a:gd name="T55" fmla="*/ 435 h 1002"/>
                <a:gd name="T56" fmla="*/ 0 w 447"/>
                <a:gd name="T57" fmla="*/ 434 h 1002"/>
                <a:gd name="T58" fmla="*/ 0 w 447"/>
                <a:gd name="T59" fmla="*/ 434 h 1002"/>
                <a:gd name="T60" fmla="*/ 0 w 447"/>
                <a:gd name="T61" fmla="*/ 433 h 1002"/>
                <a:gd name="T62" fmla="*/ 0 w 447"/>
                <a:gd name="T63" fmla="*/ 432 h 1002"/>
                <a:gd name="T64" fmla="*/ 0 w 447"/>
                <a:gd name="T65" fmla="*/ 432 h 1002"/>
                <a:gd name="T66" fmla="*/ 0 w 447"/>
                <a:gd name="T67" fmla="*/ 431 h 1002"/>
                <a:gd name="T68" fmla="*/ 0 w 447"/>
                <a:gd name="T69" fmla="*/ 427 h 1002"/>
                <a:gd name="T70" fmla="*/ 0 w 447"/>
                <a:gd name="T71" fmla="*/ 426 h 1002"/>
                <a:gd name="T72" fmla="*/ 0 w 447"/>
                <a:gd name="T73" fmla="*/ 426 h 1002"/>
                <a:gd name="T74" fmla="*/ 0 w 447"/>
                <a:gd name="T75" fmla="*/ 425 h 1002"/>
                <a:gd name="T76" fmla="*/ 0 w 447"/>
                <a:gd name="T77" fmla="*/ 425 h 1002"/>
                <a:gd name="T78" fmla="*/ 0 w 447"/>
                <a:gd name="T79" fmla="*/ 424 h 1002"/>
                <a:gd name="T80" fmla="*/ 0 w 447"/>
                <a:gd name="T81" fmla="*/ 424 h 1002"/>
                <a:gd name="T82" fmla="*/ 0 w 447"/>
                <a:gd name="T83" fmla="*/ 424 h 1002"/>
                <a:gd name="T84" fmla="*/ 0 w 447"/>
                <a:gd name="T85" fmla="*/ 423 h 1002"/>
                <a:gd name="T86" fmla="*/ 1 w 447"/>
                <a:gd name="T87" fmla="*/ 394 h 1002"/>
                <a:gd name="T88" fmla="*/ 1 w 447"/>
                <a:gd name="T89" fmla="*/ 399 h 1002"/>
                <a:gd name="T90" fmla="*/ 1 w 447"/>
                <a:gd name="T91" fmla="*/ 400 h 1002"/>
                <a:gd name="T92" fmla="*/ 1 w 447"/>
                <a:gd name="T93" fmla="*/ 403 h 1002"/>
                <a:gd name="T94" fmla="*/ 1 w 447"/>
                <a:gd name="T95" fmla="*/ 405 h 1002"/>
                <a:gd name="T96" fmla="*/ 1 w 447"/>
                <a:gd name="T97" fmla="*/ 406 h 1002"/>
                <a:gd name="T98" fmla="*/ 1 w 447"/>
                <a:gd name="T99" fmla="*/ 407 h 1002"/>
                <a:gd name="T100" fmla="*/ 1 w 447"/>
                <a:gd name="T101" fmla="*/ 409 h 1002"/>
                <a:gd name="T102" fmla="*/ 1 w 447"/>
                <a:gd name="T103" fmla="*/ 411 h 1002"/>
                <a:gd name="T104" fmla="*/ 1 w 447"/>
                <a:gd name="T105" fmla="*/ 412 h 1002"/>
                <a:gd name="T106" fmla="*/ 1 w 447"/>
                <a:gd name="T107" fmla="*/ 413 h 1002"/>
                <a:gd name="T108" fmla="*/ 1 w 447"/>
                <a:gd name="T109" fmla="*/ 415 h 1002"/>
                <a:gd name="T110" fmla="*/ 1 w 447"/>
                <a:gd name="T111" fmla="*/ 416 h 1002"/>
                <a:gd name="T112" fmla="*/ 1 w 447"/>
                <a:gd name="T113" fmla="*/ 417 h 1002"/>
                <a:gd name="T114" fmla="*/ 1 w 447"/>
                <a:gd name="T115" fmla="*/ 418 h 1002"/>
                <a:gd name="T116" fmla="*/ 0 w 447"/>
                <a:gd name="T117" fmla="*/ 420 h 1002"/>
                <a:gd name="T118" fmla="*/ 0 w 447"/>
                <a:gd name="T119" fmla="*/ 421 h 1002"/>
                <a:gd name="T120" fmla="*/ 0 w 447"/>
                <a:gd name="T121" fmla="*/ 422 h 1002"/>
                <a:gd name="T122" fmla="*/ 175 w 447"/>
                <a:gd name="T123" fmla="*/ 24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7" h="1002">
                  <a:moveTo>
                    <a:pt x="1" y="456"/>
                  </a:moveTo>
                  <a:cubicBezTo>
                    <a:pt x="10" y="698"/>
                    <a:pt x="156" y="904"/>
                    <a:pt x="363" y="1002"/>
                  </a:cubicBezTo>
                  <a:cubicBezTo>
                    <a:pt x="355" y="942"/>
                    <a:pt x="386" y="887"/>
                    <a:pt x="420" y="853"/>
                  </a:cubicBezTo>
                  <a:cubicBezTo>
                    <a:pt x="430" y="843"/>
                    <a:pt x="439" y="832"/>
                    <a:pt x="447" y="821"/>
                  </a:cubicBezTo>
                  <a:cubicBezTo>
                    <a:pt x="332" y="756"/>
                    <a:pt x="239" y="656"/>
                    <a:pt x="183" y="535"/>
                  </a:cubicBezTo>
                  <a:cubicBezTo>
                    <a:pt x="174" y="621"/>
                    <a:pt x="203" y="728"/>
                    <a:pt x="242" y="769"/>
                  </a:cubicBezTo>
                  <a:cubicBezTo>
                    <a:pt x="277" y="807"/>
                    <a:pt x="313" y="891"/>
                    <a:pt x="287" y="959"/>
                  </a:cubicBezTo>
                  <a:cubicBezTo>
                    <a:pt x="121" y="851"/>
                    <a:pt x="9" y="667"/>
                    <a:pt x="1" y="456"/>
                  </a:cubicBezTo>
                  <a:moveTo>
                    <a:pt x="1" y="454"/>
                  </a:moveTo>
                  <a:cubicBezTo>
                    <a:pt x="1" y="454"/>
                    <a:pt x="1" y="455"/>
                    <a:pt x="1" y="456"/>
                  </a:cubicBezTo>
                  <a:cubicBezTo>
                    <a:pt x="1" y="455"/>
                    <a:pt x="1" y="454"/>
                    <a:pt x="1" y="454"/>
                  </a:cubicBezTo>
                  <a:moveTo>
                    <a:pt x="1" y="453"/>
                  </a:moveTo>
                  <a:cubicBezTo>
                    <a:pt x="1" y="453"/>
                    <a:pt x="1" y="453"/>
                    <a:pt x="1" y="454"/>
                  </a:cubicBezTo>
                  <a:cubicBezTo>
                    <a:pt x="1" y="453"/>
                    <a:pt x="1" y="453"/>
                    <a:pt x="1" y="453"/>
                  </a:cubicBezTo>
                  <a:moveTo>
                    <a:pt x="1" y="451"/>
                  </a:moveTo>
                  <a:cubicBezTo>
                    <a:pt x="1" y="452"/>
                    <a:pt x="1" y="452"/>
                    <a:pt x="1" y="453"/>
                  </a:cubicBezTo>
                  <a:cubicBezTo>
                    <a:pt x="1" y="452"/>
                    <a:pt x="1" y="452"/>
                    <a:pt x="1" y="451"/>
                  </a:cubicBezTo>
                  <a:moveTo>
                    <a:pt x="1" y="450"/>
                  </a:moveTo>
                  <a:cubicBezTo>
                    <a:pt x="1" y="451"/>
                    <a:pt x="1" y="451"/>
                    <a:pt x="1" y="451"/>
                  </a:cubicBezTo>
                  <a:cubicBezTo>
                    <a:pt x="1" y="451"/>
                    <a:pt x="1" y="451"/>
                    <a:pt x="1" y="450"/>
                  </a:cubicBezTo>
                  <a:moveTo>
                    <a:pt x="1" y="449"/>
                  </a:moveTo>
                  <a:cubicBezTo>
                    <a:pt x="1" y="449"/>
                    <a:pt x="1" y="449"/>
                    <a:pt x="1" y="449"/>
                  </a:cubicBezTo>
                  <a:cubicBezTo>
                    <a:pt x="1" y="449"/>
                    <a:pt x="1" y="449"/>
                    <a:pt x="1" y="449"/>
                  </a:cubicBezTo>
                  <a:cubicBezTo>
                    <a:pt x="1" y="450"/>
                    <a:pt x="1" y="450"/>
                    <a:pt x="1" y="450"/>
                  </a:cubicBezTo>
                  <a:cubicBezTo>
                    <a:pt x="1" y="450"/>
                    <a:pt x="1" y="449"/>
                    <a:pt x="1" y="449"/>
                  </a:cubicBezTo>
                  <a:moveTo>
                    <a:pt x="1" y="448"/>
                  </a:moveTo>
                  <a:cubicBezTo>
                    <a:pt x="1" y="448"/>
                    <a:pt x="1" y="448"/>
                    <a:pt x="1" y="448"/>
                  </a:cubicBezTo>
                  <a:cubicBezTo>
                    <a:pt x="1" y="448"/>
                    <a:pt x="1" y="448"/>
                    <a:pt x="1" y="448"/>
                  </a:cubicBezTo>
                  <a:cubicBezTo>
                    <a:pt x="1" y="448"/>
                    <a:pt x="1" y="448"/>
                    <a:pt x="1" y="448"/>
                  </a:cubicBezTo>
                  <a:cubicBezTo>
                    <a:pt x="1" y="448"/>
                    <a:pt x="1" y="448"/>
                    <a:pt x="1" y="448"/>
                  </a:cubicBezTo>
                  <a:moveTo>
                    <a:pt x="1" y="447"/>
                  </a:moveTo>
                  <a:cubicBezTo>
                    <a:pt x="1" y="447"/>
                    <a:pt x="1" y="447"/>
                    <a:pt x="1" y="448"/>
                  </a:cubicBezTo>
                  <a:cubicBezTo>
                    <a:pt x="1" y="448"/>
                    <a:pt x="1" y="448"/>
                    <a:pt x="1" y="448"/>
                  </a:cubicBezTo>
                  <a:cubicBezTo>
                    <a:pt x="1" y="448"/>
                    <a:pt x="1" y="448"/>
                    <a:pt x="1" y="448"/>
                  </a:cubicBezTo>
                  <a:cubicBezTo>
                    <a:pt x="1" y="448"/>
                    <a:pt x="1" y="447"/>
                    <a:pt x="1" y="447"/>
                  </a:cubicBezTo>
                  <a:moveTo>
                    <a:pt x="1" y="447"/>
                  </a:moveTo>
                  <a:cubicBezTo>
                    <a:pt x="1" y="447"/>
                    <a:pt x="1" y="447"/>
                    <a:pt x="1" y="447"/>
                  </a:cubicBezTo>
                  <a:cubicBezTo>
                    <a:pt x="1" y="447"/>
                    <a:pt x="1" y="447"/>
                    <a:pt x="1" y="447"/>
                  </a:cubicBezTo>
                  <a:cubicBezTo>
                    <a:pt x="1" y="447"/>
                    <a:pt x="1" y="447"/>
                    <a:pt x="1" y="447"/>
                  </a:cubicBezTo>
                  <a:moveTo>
                    <a:pt x="1" y="446"/>
                  </a:moveTo>
                  <a:cubicBezTo>
                    <a:pt x="1" y="446"/>
                    <a:pt x="1" y="446"/>
                    <a:pt x="1" y="446"/>
                  </a:cubicBezTo>
                  <a:cubicBezTo>
                    <a:pt x="1" y="446"/>
                    <a:pt x="1" y="446"/>
                    <a:pt x="1" y="446"/>
                  </a:cubicBezTo>
                  <a:cubicBezTo>
                    <a:pt x="1" y="446"/>
                    <a:pt x="1" y="446"/>
                    <a:pt x="1" y="446"/>
                  </a:cubicBezTo>
                  <a:cubicBezTo>
                    <a:pt x="1" y="446"/>
                    <a:pt x="1" y="447"/>
                    <a:pt x="1" y="447"/>
                  </a:cubicBezTo>
                  <a:cubicBezTo>
                    <a:pt x="1" y="446"/>
                    <a:pt x="1" y="446"/>
                    <a:pt x="1" y="446"/>
                  </a:cubicBezTo>
                  <a:moveTo>
                    <a:pt x="1" y="445"/>
                  </a:moveTo>
                  <a:cubicBezTo>
                    <a:pt x="1" y="445"/>
                    <a:pt x="1" y="445"/>
                    <a:pt x="1" y="445"/>
                  </a:cubicBezTo>
                  <a:cubicBezTo>
                    <a:pt x="1" y="445"/>
                    <a:pt x="1" y="445"/>
                    <a:pt x="1" y="445"/>
                  </a:cubicBezTo>
                  <a:cubicBezTo>
                    <a:pt x="1" y="446"/>
                    <a:pt x="1" y="446"/>
                    <a:pt x="1" y="446"/>
                  </a:cubicBezTo>
                  <a:cubicBezTo>
                    <a:pt x="1" y="446"/>
                    <a:pt x="1" y="445"/>
                    <a:pt x="1" y="445"/>
                  </a:cubicBezTo>
                  <a:moveTo>
                    <a:pt x="1" y="445"/>
                  </a:moveTo>
                  <a:cubicBezTo>
                    <a:pt x="1" y="445"/>
                    <a:pt x="1" y="445"/>
                    <a:pt x="1" y="445"/>
                  </a:cubicBezTo>
                  <a:cubicBezTo>
                    <a:pt x="1" y="445"/>
                    <a:pt x="1" y="445"/>
                    <a:pt x="1" y="445"/>
                  </a:cubicBezTo>
                  <a:cubicBezTo>
                    <a:pt x="1" y="445"/>
                    <a:pt x="1" y="445"/>
                    <a:pt x="1" y="445"/>
                  </a:cubicBezTo>
                  <a:cubicBezTo>
                    <a:pt x="1" y="445"/>
                    <a:pt x="1" y="445"/>
                    <a:pt x="1" y="445"/>
                  </a:cubicBezTo>
                  <a:cubicBezTo>
                    <a:pt x="1" y="445"/>
                    <a:pt x="1" y="445"/>
                    <a:pt x="1" y="445"/>
                  </a:cubicBezTo>
                  <a:cubicBezTo>
                    <a:pt x="1" y="445"/>
                    <a:pt x="1" y="445"/>
                    <a:pt x="1" y="445"/>
                  </a:cubicBezTo>
                  <a:moveTo>
                    <a:pt x="1" y="444"/>
                  </a:moveTo>
                  <a:cubicBezTo>
                    <a:pt x="1" y="444"/>
                    <a:pt x="1" y="444"/>
                    <a:pt x="1" y="444"/>
                  </a:cubicBezTo>
                  <a:cubicBezTo>
                    <a:pt x="1" y="444"/>
                    <a:pt x="1" y="444"/>
                    <a:pt x="1" y="445"/>
                  </a:cubicBezTo>
                  <a:cubicBezTo>
                    <a:pt x="1" y="444"/>
                    <a:pt x="1" y="444"/>
                    <a:pt x="1" y="444"/>
                  </a:cubicBezTo>
                  <a:moveTo>
                    <a:pt x="1" y="443"/>
                  </a:moveTo>
                  <a:cubicBezTo>
                    <a:pt x="1" y="443"/>
                    <a:pt x="1" y="443"/>
                    <a:pt x="1" y="443"/>
                  </a:cubicBezTo>
                  <a:cubicBezTo>
                    <a:pt x="1" y="443"/>
                    <a:pt x="1" y="444"/>
                    <a:pt x="1" y="444"/>
                  </a:cubicBezTo>
                  <a:cubicBezTo>
                    <a:pt x="1" y="444"/>
                    <a:pt x="1" y="444"/>
                    <a:pt x="1" y="444"/>
                  </a:cubicBezTo>
                  <a:cubicBezTo>
                    <a:pt x="1" y="444"/>
                    <a:pt x="1" y="444"/>
                    <a:pt x="1" y="444"/>
                  </a:cubicBezTo>
                  <a:cubicBezTo>
                    <a:pt x="1" y="444"/>
                    <a:pt x="1" y="444"/>
                    <a:pt x="1" y="443"/>
                  </a:cubicBezTo>
                  <a:moveTo>
                    <a:pt x="0" y="443"/>
                  </a:moveTo>
                  <a:cubicBezTo>
                    <a:pt x="0" y="443"/>
                    <a:pt x="0" y="443"/>
                    <a:pt x="0" y="44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3"/>
                    <a:pt x="1" y="443"/>
                    <a:pt x="1" y="443"/>
                  </a:cubicBezTo>
                  <a:cubicBezTo>
                    <a:pt x="1" y="443"/>
                    <a:pt x="0" y="443"/>
                    <a:pt x="0" y="443"/>
                  </a:cubicBezTo>
                  <a:moveTo>
                    <a:pt x="0" y="442"/>
                  </a:moveTo>
                  <a:cubicBezTo>
                    <a:pt x="0" y="442"/>
                    <a:pt x="0" y="442"/>
                    <a:pt x="0" y="442"/>
                  </a:cubicBezTo>
                  <a:cubicBezTo>
                    <a:pt x="0" y="442"/>
                    <a:pt x="0" y="442"/>
                    <a:pt x="0" y="442"/>
                  </a:cubicBezTo>
                  <a:cubicBezTo>
                    <a:pt x="0" y="442"/>
                    <a:pt x="0" y="442"/>
                    <a:pt x="0" y="44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2"/>
                    <a:pt x="0" y="442"/>
                    <a:pt x="0" y="442"/>
                  </a:cubicBezTo>
                  <a:moveTo>
                    <a:pt x="0" y="441"/>
                  </a:moveTo>
                  <a:cubicBezTo>
                    <a:pt x="0" y="441"/>
                    <a:pt x="0" y="441"/>
                    <a:pt x="0" y="442"/>
                  </a:cubicBezTo>
                  <a:cubicBezTo>
                    <a:pt x="0" y="442"/>
                    <a:pt x="0" y="442"/>
                    <a:pt x="0" y="442"/>
                  </a:cubicBezTo>
                  <a:cubicBezTo>
                    <a:pt x="0" y="442"/>
                    <a:pt x="0" y="442"/>
                    <a:pt x="0" y="442"/>
                  </a:cubicBezTo>
                  <a:cubicBezTo>
                    <a:pt x="0" y="442"/>
                    <a:pt x="0" y="442"/>
                    <a:pt x="0" y="441"/>
                  </a:cubicBezTo>
                  <a:moveTo>
                    <a:pt x="0" y="441"/>
                  </a:moveTo>
                  <a:cubicBezTo>
                    <a:pt x="0" y="441"/>
                    <a:pt x="0" y="441"/>
                    <a:pt x="0" y="441"/>
                  </a:cubicBezTo>
                  <a:cubicBezTo>
                    <a:pt x="0" y="441"/>
                    <a:pt x="0" y="441"/>
                    <a:pt x="0" y="441"/>
                  </a:cubicBezTo>
                  <a:cubicBezTo>
                    <a:pt x="0" y="441"/>
                    <a:pt x="0" y="441"/>
                    <a:pt x="0" y="441"/>
                  </a:cubicBezTo>
                  <a:cubicBezTo>
                    <a:pt x="0" y="441"/>
                    <a:pt x="0" y="441"/>
                    <a:pt x="0" y="441"/>
                  </a:cubicBezTo>
                  <a:cubicBezTo>
                    <a:pt x="0" y="441"/>
                    <a:pt x="0" y="441"/>
                    <a:pt x="0" y="441"/>
                  </a:cubicBezTo>
                  <a:moveTo>
                    <a:pt x="0" y="440"/>
                  </a:moveTo>
                  <a:cubicBezTo>
                    <a:pt x="0" y="440"/>
                    <a:pt x="0" y="440"/>
                    <a:pt x="0" y="440"/>
                  </a:cubicBezTo>
                  <a:cubicBezTo>
                    <a:pt x="0" y="440"/>
                    <a:pt x="0" y="441"/>
                    <a:pt x="0" y="441"/>
                  </a:cubicBezTo>
                  <a:cubicBezTo>
                    <a:pt x="0" y="441"/>
                    <a:pt x="0" y="441"/>
                    <a:pt x="0" y="441"/>
                  </a:cubicBezTo>
                  <a:cubicBezTo>
                    <a:pt x="0" y="441"/>
                    <a:pt x="0" y="440"/>
                    <a:pt x="0" y="440"/>
                  </a:cubicBezTo>
                  <a:moveTo>
                    <a:pt x="0" y="440"/>
                  </a:moveTo>
                  <a:cubicBezTo>
                    <a:pt x="0" y="440"/>
                    <a:pt x="0" y="440"/>
                    <a:pt x="0" y="440"/>
                  </a:cubicBezTo>
                  <a:cubicBezTo>
                    <a:pt x="0" y="440"/>
                    <a:pt x="0" y="440"/>
                    <a:pt x="0" y="440"/>
                  </a:cubicBezTo>
                  <a:cubicBezTo>
                    <a:pt x="0" y="440"/>
                    <a:pt x="0" y="440"/>
                    <a:pt x="0" y="440"/>
                  </a:cubicBezTo>
                  <a:cubicBezTo>
                    <a:pt x="0" y="440"/>
                    <a:pt x="0" y="440"/>
                    <a:pt x="0" y="440"/>
                  </a:cubicBezTo>
                  <a:moveTo>
                    <a:pt x="0" y="439"/>
                  </a:moveTo>
                  <a:cubicBezTo>
                    <a:pt x="0" y="439"/>
                    <a:pt x="0" y="439"/>
                    <a:pt x="0" y="439"/>
                  </a:cubicBezTo>
                  <a:cubicBezTo>
                    <a:pt x="0" y="439"/>
                    <a:pt x="0" y="439"/>
                    <a:pt x="0" y="439"/>
                  </a:cubicBezTo>
                  <a:cubicBezTo>
                    <a:pt x="0" y="439"/>
                    <a:pt x="0" y="439"/>
                    <a:pt x="0" y="439"/>
                  </a:cubicBezTo>
                  <a:cubicBezTo>
                    <a:pt x="0" y="439"/>
                    <a:pt x="0" y="439"/>
                    <a:pt x="0" y="439"/>
                  </a:cubicBezTo>
                  <a:moveTo>
                    <a:pt x="0" y="438"/>
                  </a:moveTo>
                  <a:cubicBezTo>
                    <a:pt x="0" y="438"/>
                    <a:pt x="0" y="438"/>
                    <a:pt x="0" y="438"/>
                  </a:cubicBezTo>
                  <a:cubicBezTo>
                    <a:pt x="0" y="438"/>
                    <a:pt x="0" y="438"/>
                    <a:pt x="0" y="439"/>
                  </a:cubicBezTo>
                  <a:cubicBezTo>
                    <a:pt x="0" y="439"/>
                    <a:pt x="0" y="439"/>
                    <a:pt x="0" y="439"/>
                  </a:cubicBezTo>
                  <a:cubicBezTo>
                    <a:pt x="0" y="439"/>
                    <a:pt x="0" y="439"/>
                    <a:pt x="0" y="439"/>
                  </a:cubicBezTo>
                  <a:cubicBezTo>
                    <a:pt x="0" y="439"/>
                    <a:pt x="0" y="438"/>
                    <a:pt x="0" y="438"/>
                  </a:cubicBezTo>
                  <a:moveTo>
                    <a:pt x="0" y="438"/>
                  </a:moveTo>
                  <a:cubicBezTo>
                    <a:pt x="0" y="438"/>
                    <a:pt x="0" y="438"/>
                    <a:pt x="0" y="438"/>
                  </a:cubicBezTo>
                  <a:cubicBezTo>
                    <a:pt x="0" y="438"/>
                    <a:pt x="0" y="438"/>
                    <a:pt x="0" y="438"/>
                  </a:cubicBezTo>
                  <a:cubicBezTo>
                    <a:pt x="0" y="438"/>
                    <a:pt x="0" y="438"/>
                    <a:pt x="0" y="438"/>
                  </a:cubicBezTo>
                  <a:cubicBezTo>
                    <a:pt x="0" y="438"/>
                    <a:pt x="0" y="438"/>
                    <a:pt x="0" y="438"/>
                  </a:cubicBezTo>
                  <a:moveTo>
                    <a:pt x="0" y="437"/>
                  </a:moveTo>
                  <a:cubicBezTo>
                    <a:pt x="0" y="437"/>
                    <a:pt x="0" y="437"/>
                    <a:pt x="0" y="437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37"/>
                    <a:pt x="0" y="437"/>
                    <a:pt x="0" y="437"/>
                  </a:cubicBezTo>
                  <a:moveTo>
                    <a:pt x="0" y="436"/>
                  </a:moveTo>
                  <a:cubicBezTo>
                    <a:pt x="0" y="436"/>
                    <a:pt x="0" y="436"/>
                    <a:pt x="0" y="437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437"/>
                    <a:pt x="0" y="436"/>
                    <a:pt x="0" y="436"/>
                  </a:cubicBezTo>
                  <a:moveTo>
                    <a:pt x="0" y="436"/>
                  </a:moveTo>
                  <a:cubicBezTo>
                    <a:pt x="0" y="436"/>
                    <a:pt x="0" y="436"/>
                    <a:pt x="0" y="436"/>
                  </a:cubicBezTo>
                  <a:cubicBezTo>
                    <a:pt x="0" y="436"/>
                    <a:pt x="0" y="436"/>
                    <a:pt x="0" y="436"/>
                  </a:cubicBezTo>
                  <a:cubicBezTo>
                    <a:pt x="0" y="436"/>
                    <a:pt x="0" y="436"/>
                    <a:pt x="0" y="436"/>
                  </a:cubicBezTo>
                  <a:cubicBezTo>
                    <a:pt x="0" y="436"/>
                    <a:pt x="0" y="436"/>
                    <a:pt x="0" y="436"/>
                  </a:cubicBezTo>
                  <a:cubicBezTo>
                    <a:pt x="0" y="436"/>
                    <a:pt x="0" y="436"/>
                    <a:pt x="0" y="436"/>
                  </a:cubicBezTo>
                  <a:moveTo>
                    <a:pt x="0" y="435"/>
                  </a:moveTo>
                  <a:cubicBezTo>
                    <a:pt x="0" y="435"/>
                    <a:pt x="0" y="435"/>
                    <a:pt x="0" y="435"/>
                  </a:cubicBezTo>
                  <a:cubicBezTo>
                    <a:pt x="0" y="435"/>
                    <a:pt x="0" y="435"/>
                    <a:pt x="0" y="435"/>
                  </a:cubicBezTo>
                  <a:cubicBezTo>
                    <a:pt x="0" y="435"/>
                    <a:pt x="0" y="435"/>
                    <a:pt x="0" y="435"/>
                  </a:cubicBezTo>
                  <a:cubicBezTo>
                    <a:pt x="0" y="435"/>
                    <a:pt x="0" y="435"/>
                    <a:pt x="0" y="435"/>
                  </a:cubicBezTo>
                  <a:moveTo>
                    <a:pt x="0" y="434"/>
                  </a:moveTo>
                  <a:cubicBezTo>
                    <a:pt x="0" y="434"/>
                    <a:pt x="0" y="434"/>
                    <a:pt x="0" y="435"/>
                  </a:cubicBezTo>
                  <a:cubicBezTo>
                    <a:pt x="0" y="435"/>
                    <a:pt x="0" y="435"/>
                    <a:pt x="0" y="435"/>
                  </a:cubicBezTo>
                  <a:cubicBezTo>
                    <a:pt x="0" y="435"/>
                    <a:pt x="0" y="435"/>
                    <a:pt x="0" y="435"/>
                  </a:cubicBezTo>
                  <a:cubicBezTo>
                    <a:pt x="0" y="435"/>
                    <a:pt x="0" y="435"/>
                    <a:pt x="0" y="434"/>
                  </a:cubicBezTo>
                  <a:moveTo>
                    <a:pt x="0" y="434"/>
                  </a:moveTo>
                  <a:cubicBezTo>
                    <a:pt x="0" y="434"/>
                    <a:pt x="0" y="434"/>
                    <a:pt x="0" y="434"/>
                  </a:cubicBezTo>
                  <a:cubicBezTo>
                    <a:pt x="0" y="434"/>
                    <a:pt x="0" y="434"/>
                    <a:pt x="0" y="434"/>
                  </a:cubicBezTo>
                  <a:cubicBezTo>
                    <a:pt x="0" y="434"/>
                    <a:pt x="0" y="434"/>
                    <a:pt x="0" y="434"/>
                  </a:cubicBezTo>
                  <a:cubicBezTo>
                    <a:pt x="0" y="434"/>
                    <a:pt x="0" y="434"/>
                    <a:pt x="0" y="434"/>
                  </a:cubicBezTo>
                  <a:moveTo>
                    <a:pt x="0" y="433"/>
                  </a:moveTo>
                  <a:cubicBezTo>
                    <a:pt x="0" y="433"/>
                    <a:pt x="0" y="433"/>
                    <a:pt x="0" y="433"/>
                  </a:cubicBezTo>
                  <a:cubicBezTo>
                    <a:pt x="0" y="433"/>
                    <a:pt x="0" y="433"/>
                    <a:pt x="0" y="434"/>
                  </a:cubicBezTo>
                  <a:cubicBezTo>
                    <a:pt x="0" y="434"/>
                    <a:pt x="0" y="434"/>
                    <a:pt x="0" y="434"/>
                  </a:cubicBezTo>
                  <a:cubicBezTo>
                    <a:pt x="0" y="434"/>
                    <a:pt x="0" y="434"/>
                    <a:pt x="0" y="434"/>
                  </a:cubicBezTo>
                  <a:cubicBezTo>
                    <a:pt x="0" y="433"/>
                    <a:pt x="0" y="433"/>
                    <a:pt x="0" y="433"/>
                  </a:cubicBezTo>
                  <a:moveTo>
                    <a:pt x="0" y="432"/>
                  </a:moveTo>
                  <a:cubicBezTo>
                    <a:pt x="0" y="432"/>
                    <a:pt x="0" y="432"/>
                    <a:pt x="0" y="433"/>
                  </a:cubicBezTo>
                  <a:cubicBezTo>
                    <a:pt x="0" y="433"/>
                    <a:pt x="0" y="433"/>
                    <a:pt x="0" y="433"/>
                  </a:cubicBezTo>
                  <a:cubicBezTo>
                    <a:pt x="0" y="433"/>
                    <a:pt x="0" y="433"/>
                    <a:pt x="0" y="433"/>
                  </a:cubicBezTo>
                  <a:cubicBezTo>
                    <a:pt x="0" y="433"/>
                    <a:pt x="0" y="433"/>
                    <a:pt x="0" y="432"/>
                  </a:cubicBezTo>
                  <a:moveTo>
                    <a:pt x="0" y="432"/>
                  </a:moveTo>
                  <a:cubicBezTo>
                    <a:pt x="0" y="432"/>
                    <a:pt x="0" y="432"/>
                    <a:pt x="0" y="432"/>
                  </a:cubicBezTo>
                  <a:cubicBezTo>
                    <a:pt x="0" y="432"/>
                    <a:pt x="0" y="432"/>
                    <a:pt x="0" y="432"/>
                  </a:cubicBezTo>
                  <a:cubicBezTo>
                    <a:pt x="0" y="432"/>
                    <a:pt x="0" y="432"/>
                    <a:pt x="0" y="432"/>
                  </a:cubicBezTo>
                  <a:cubicBezTo>
                    <a:pt x="0" y="432"/>
                    <a:pt x="0" y="432"/>
                    <a:pt x="0" y="432"/>
                  </a:cubicBezTo>
                  <a:moveTo>
                    <a:pt x="0" y="431"/>
                  </a:moveTo>
                  <a:cubicBezTo>
                    <a:pt x="0" y="431"/>
                    <a:pt x="0" y="431"/>
                    <a:pt x="0" y="431"/>
                  </a:cubicBezTo>
                  <a:cubicBezTo>
                    <a:pt x="0" y="432"/>
                    <a:pt x="0" y="432"/>
                    <a:pt x="0" y="432"/>
                  </a:cubicBezTo>
                  <a:cubicBezTo>
                    <a:pt x="0" y="432"/>
                    <a:pt x="0" y="432"/>
                    <a:pt x="0" y="432"/>
                  </a:cubicBezTo>
                  <a:cubicBezTo>
                    <a:pt x="0" y="431"/>
                    <a:pt x="0" y="431"/>
                    <a:pt x="0" y="431"/>
                  </a:cubicBezTo>
                  <a:moveTo>
                    <a:pt x="0" y="430"/>
                  </a:moveTo>
                  <a:cubicBezTo>
                    <a:pt x="0" y="430"/>
                    <a:pt x="0" y="431"/>
                    <a:pt x="0" y="431"/>
                  </a:cubicBezTo>
                  <a:cubicBezTo>
                    <a:pt x="0" y="431"/>
                    <a:pt x="0" y="431"/>
                    <a:pt x="0" y="431"/>
                  </a:cubicBezTo>
                  <a:cubicBezTo>
                    <a:pt x="0" y="431"/>
                    <a:pt x="0" y="431"/>
                    <a:pt x="0" y="430"/>
                  </a:cubicBezTo>
                  <a:moveTo>
                    <a:pt x="0" y="427"/>
                  </a:moveTo>
                  <a:cubicBezTo>
                    <a:pt x="0" y="427"/>
                    <a:pt x="0" y="427"/>
                    <a:pt x="0" y="427"/>
                  </a:cubicBezTo>
                  <a:cubicBezTo>
                    <a:pt x="0" y="427"/>
                    <a:pt x="0" y="427"/>
                    <a:pt x="0" y="427"/>
                  </a:cubicBezTo>
                  <a:cubicBezTo>
                    <a:pt x="0" y="427"/>
                    <a:pt x="0" y="427"/>
                    <a:pt x="0" y="427"/>
                  </a:cubicBezTo>
                  <a:moveTo>
                    <a:pt x="0" y="426"/>
                  </a:moveTo>
                  <a:cubicBezTo>
                    <a:pt x="0" y="426"/>
                    <a:pt x="0" y="426"/>
                    <a:pt x="0" y="426"/>
                  </a:cubicBezTo>
                  <a:cubicBezTo>
                    <a:pt x="0" y="426"/>
                    <a:pt x="0" y="426"/>
                    <a:pt x="0" y="426"/>
                  </a:cubicBezTo>
                  <a:cubicBezTo>
                    <a:pt x="0" y="426"/>
                    <a:pt x="0" y="426"/>
                    <a:pt x="0" y="426"/>
                  </a:cubicBezTo>
                  <a:cubicBezTo>
                    <a:pt x="0" y="426"/>
                    <a:pt x="0" y="426"/>
                    <a:pt x="0" y="426"/>
                  </a:cubicBezTo>
                  <a:moveTo>
                    <a:pt x="0" y="426"/>
                  </a:moveTo>
                  <a:cubicBezTo>
                    <a:pt x="0" y="426"/>
                    <a:pt x="0" y="426"/>
                    <a:pt x="0" y="426"/>
                  </a:cubicBezTo>
                  <a:cubicBezTo>
                    <a:pt x="0" y="426"/>
                    <a:pt x="0" y="426"/>
                    <a:pt x="0" y="426"/>
                  </a:cubicBezTo>
                  <a:cubicBezTo>
                    <a:pt x="0" y="426"/>
                    <a:pt x="0" y="426"/>
                    <a:pt x="0" y="426"/>
                  </a:cubicBezTo>
                  <a:cubicBezTo>
                    <a:pt x="0" y="426"/>
                    <a:pt x="0" y="426"/>
                    <a:pt x="0" y="426"/>
                  </a:cubicBezTo>
                  <a:moveTo>
                    <a:pt x="0" y="425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0" y="425"/>
                    <a:pt x="0" y="425"/>
                    <a:pt x="0" y="425"/>
                  </a:cubicBezTo>
                  <a:cubicBezTo>
                    <a:pt x="0" y="425"/>
                    <a:pt x="0" y="425"/>
                    <a:pt x="0" y="425"/>
                  </a:cubicBezTo>
                  <a:cubicBezTo>
                    <a:pt x="0" y="425"/>
                    <a:pt x="0" y="425"/>
                    <a:pt x="0" y="425"/>
                  </a:cubicBezTo>
                  <a:cubicBezTo>
                    <a:pt x="0" y="425"/>
                    <a:pt x="0" y="425"/>
                    <a:pt x="0" y="425"/>
                  </a:cubicBezTo>
                  <a:moveTo>
                    <a:pt x="0" y="424"/>
                  </a:moveTo>
                  <a:cubicBezTo>
                    <a:pt x="0" y="424"/>
                    <a:pt x="0" y="424"/>
                    <a:pt x="0" y="425"/>
                  </a:cubicBezTo>
                  <a:cubicBezTo>
                    <a:pt x="0" y="425"/>
                    <a:pt x="0" y="425"/>
                    <a:pt x="0" y="425"/>
                  </a:cubicBezTo>
                  <a:cubicBezTo>
                    <a:pt x="0" y="425"/>
                    <a:pt x="0" y="425"/>
                    <a:pt x="0" y="425"/>
                  </a:cubicBezTo>
                  <a:cubicBezTo>
                    <a:pt x="0" y="425"/>
                    <a:pt x="0" y="425"/>
                    <a:pt x="0" y="425"/>
                  </a:cubicBezTo>
                  <a:cubicBezTo>
                    <a:pt x="0" y="425"/>
                    <a:pt x="0" y="425"/>
                    <a:pt x="0" y="424"/>
                  </a:cubicBezTo>
                  <a:moveTo>
                    <a:pt x="0" y="424"/>
                  </a:moveTo>
                  <a:cubicBezTo>
                    <a:pt x="0" y="424"/>
                    <a:pt x="0" y="424"/>
                    <a:pt x="0" y="424"/>
                  </a:cubicBezTo>
                  <a:cubicBezTo>
                    <a:pt x="0" y="424"/>
                    <a:pt x="0" y="424"/>
                    <a:pt x="0" y="424"/>
                  </a:cubicBezTo>
                  <a:cubicBezTo>
                    <a:pt x="0" y="424"/>
                    <a:pt x="0" y="424"/>
                    <a:pt x="0" y="424"/>
                  </a:cubicBezTo>
                  <a:cubicBezTo>
                    <a:pt x="0" y="424"/>
                    <a:pt x="0" y="424"/>
                    <a:pt x="0" y="424"/>
                  </a:cubicBezTo>
                  <a:moveTo>
                    <a:pt x="0" y="424"/>
                  </a:moveTo>
                  <a:cubicBezTo>
                    <a:pt x="0" y="424"/>
                    <a:pt x="0" y="424"/>
                    <a:pt x="0" y="424"/>
                  </a:cubicBezTo>
                  <a:cubicBezTo>
                    <a:pt x="0" y="424"/>
                    <a:pt x="0" y="424"/>
                    <a:pt x="0" y="424"/>
                  </a:cubicBezTo>
                  <a:cubicBezTo>
                    <a:pt x="0" y="424"/>
                    <a:pt x="0" y="424"/>
                    <a:pt x="0" y="424"/>
                  </a:cubicBezTo>
                  <a:cubicBezTo>
                    <a:pt x="0" y="424"/>
                    <a:pt x="0" y="424"/>
                    <a:pt x="0" y="424"/>
                  </a:cubicBezTo>
                  <a:moveTo>
                    <a:pt x="0" y="423"/>
                  </a:moveTo>
                  <a:cubicBezTo>
                    <a:pt x="0" y="423"/>
                    <a:pt x="0" y="423"/>
                    <a:pt x="0" y="423"/>
                  </a:cubicBezTo>
                  <a:cubicBezTo>
                    <a:pt x="0" y="423"/>
                    <a:pt x="0" y="424"/>
                    <a:pt x="0" y="424"/>
                  </a:cubicBezTo>
                  <a:cubicBezTo>
                    <a:pt x="0" y="423"/>
                    <a:pt x="0" y="423"/>
                    <a:pt x="0" y="423"/>
                  </a:cubicBezTo>
                  <a:moveTo>
                    <a:pt x="0" y="423"/>
                  </a:moveTo>
                  <a:cubicBezTo>
                    <a:pt x="0" y="423"/>
                    <a:pt x="0" y="423"/>
                    <a:pt x="0" y="423"/>
                  </a:cubicBezTo>
                  <a:cubicBezTo>
                    <a:pt x="0" y="423"/>
                    <a:pt x="0" y="423"/>
                    <a:pt x="0" y="423"/>
                  </a:cubicBezTo>
                  <a:cubicBezTo>
                    <a:pt x="0" y="423"/>
                    <a:pt x="0" y="423"/>
                    <a:pt x="0" y="423"/>
                  </a:cubicBezTo>
                  <a:cubicBezTo>
                    <a:pt x="0" y="423"/>
                    <a:pt x="0" y="423"/>
                    <a:pt x="0" y="423"/>
                  </a:cubicBezTo>
                  <a:moveTo>
                    <a:pt x="170" y="0"/>
                  </a:moveTo>
                  <a:cubicBezTo>
                    <a:pt x="73" y="105"/>
                    <a:pt x="10" y="242"/>
                    <a:pt x="2" y="393"/>
                  </a:cubicBezTo>
                  <a:cubicBezTo>
                    <a:pt x="2" y="393"/>
                    <a:pt x="2" y="393"/>
                    <a:pt x="2" y="393"/>
                  </a:cubicBezTo>
                  <a:cubicBezTo>
                    <a:pt x="1" y="393"/>
                    <a:pt x="1" y="394"/>
                    <a:pt x="1" y="394"/>
                  </a:cubicBezTo>
                  <a:cubicBezTo>
                    <a:pt x="1" y="394"/>
                    <a:pt x="1" y="394"/>
                    <a:pt x="1" y="394"/>
                  </a:cubicBezTo>
                  <a:cubicBezTo>
                    <a:pt x="1" y="395"/>
                    <a:pt x="1" y="397"/>
                    <a:pt x="1" y="398"/>
                  </a:cubicBezTo>
                  <a:cubicBezTo>
                    <a:pt x="1" y="398"/>
                    <a:pt x="1" y="398"/>
                    <a:pt x="1" y="398"/>
                  </a:cubicBezTo>
                  <a:cubicBezTo>
                    <a:pt x="1" y="398"/>
                    <a:pt x="1" y="398"/>
                    <a:pt x="1" y="398"/>
                  </a:cubicBezTo>
                  <a:cubicBezTo>
                    <a:pt x="1" y="399"/>
                    <a:pt x="1" y="399"/>
                    <a:pt x="1" y="399"/>
                  </a:cubicBezTo>
                  <a:cubicBezTo>
                    <a:pt x="1" y="399"/>
                    <a:pt x="1" y="399"/>
                    <a:pt x="1" y="399"/>
                  </a:cubicBezTo>
                  <a:cubicBezTo>
                    <a:pt x="1" y="399"/>
                    <a:pt x="1" y="399"/>
                    <a:pt x="1" y="399"/>
                  </a:cubicBezTo>
                  <a:cubicBezTo>
                    <a:pt x="1" y="399"/>
                    <a:pt x="1" y="399"/>
                    <a:pt x="1" y="399"/>
                  </a:cubicBezTo>
                  <a:cubicBezTo>
                    <a:pt x="1" y="399"/>
                    <a:pt x="1" y="400"/>
                    <a:pt x="1" y="400"/>
                  </a:cubicBezTo>
                  <a:cubicBezTo>
                    <a:pt x="1" y="400"/>
                    <a:pt x="1" y="400"/>
                    <a:pt x="1" y="400"/>
                  </a:cubicBezTo>
                  <a:cubicBezTo>
                    <a:pt x="1" y="400"/>
                    <a:pt x="1" y="400"/>
                    <a:pt x="1" y="400"/>
                  </a:cubicBezTo>
                  <a:cubicBezTo>
                    <a:pt x="1" y="400"/>
                    <a:pt x="1" y="400"/>
                    <a:pt x="1" y="400"/>
                  </a:cubicBezTo>
                  <a:cubicBezTo>
                    <a:pt x="1" y="400"/>
                    <a:pt x="1" y="401"/>
                    <a:pt x="1" y="401"/>
                  </a:cubicBezTo>
                  <a:cubicBezTo>
                    <a:pt x="1" y="401"/>
                    <a:pt x="1" y="402"/>
                    <a:pt x="1" y="403"/>
                  </a:cubicBezTo>
                  <a:cubicBezTo>
                    <a:pt x="1" y="403"/>
                    <a:pt x="1" y="403"/>
                    <a:pt x="1" y="403"/>
                  </a:cubicBezTo>
                  <a:cubicBezTo>
                    <a:pt x="1" y="404"/>
                    <a:pt x="1" y="404"/>
                    <a:pt x="1" y="404"/>
                  </a:cubicBezTo>
                  <a:cubicBezTo>
                    <a:pt x="1" y="404"/>
                    <a:pt x="1" y="404"/>
                    <a:pt x="1" y="404"/>
                  </a:cubicBezTo>
                  <a:cubicBezTo>
                    <a:pt x="1" y="404"/>
                    <a:pt x="1" y="404"/>
                    <a:pt x="1" y="404"/>
                  </a:cubicBezTo>
                  <a:cubicBezTo>
                    <a:pt x="1" y="404"/>
                    <a:pt x="1" y="404"/>
                    <a:pt x="1" y="404"/>
                  </a:cubicBezTo>
                  <a:cubicBezTo>
                    <a:pt x="1" y="404"/>
                    <a:pt x="1" y="405"/>
                    <a:pt x="1" y="405"/>
                  </a:cubicBezTo>
                  <a:cubicBezTo>
                    <a:pt x="1" y="405"/>
                    <a:pt x="1" y="405"/>
                    <a:pt x="1" y="405"/>
                  </a:cubicBezTo>
                  <a:cubicBezTo>
                    <a:pt x="1" y="405"/>
                    <a:pt x="1" y="405"/>
                    <a:pt x="1" y="405"/>
                  </a:cubicBezTo>
                  <a:cubicBezTo>
                    <a:pt x="1" y="405"/>
                    <a:pt x="1" y="405"/>
                    <a:pt x="1" y="405"/>
                  </a:cubicBezTo>
                  <a:cubicBezTo>
                    <a:pt x="1" y="406"/>
                    <a:pt x="1" y="406"/>
                    <a:pt x="1" y="406"/>
                  </a:cubicBezTo>
                  <a:cubicBezTo>
                    <a:pt x="1" y="406"/>
                    <a:pt x="1" y="406"/>
                    <a:pt x="1" y="406"/>
                  </a:cubicBezTo>
                  <a:cubicBezTo>
                    <a:pt x="1" y="406"/>
                    <a:pt x="1" y="406"/>
                    <a:pt x="1" y="406"/>
                  </a:cubicBezTo>
                  <a:cubicBezTo>
                    <a:pt x="1" y="406"/>
                    <a:pt x="1" y="406"/>
                    <a:pt x="1" y="406"/>
                  </a:cubicBezTo>
                  <a:cubicBezTo>
                    <a:pt x="1" y="407"/>
                    <a:pt x="1" y="407"/>
                    <a:pt x="1" y="407"/>
                  </a:cubicBezTo>
                  <a:cubicBezTo>
                    <a:pt x="1" y="407"/>
                    <a:pt x="1" y="407"/>
                    <a:pt x="1" y="407"/>
                  </a:cubicBezTo>
                  <a:cubicBezTo>
                    <a:pt x="1" y="407"/>
                    <a:pt x="1" y="407"/>
                    <a:pt x="1" y="407"/>
                  </a:cubicBezTo>
                  <a:cubicBezTo>
                    <a:pt x="1" y="407"/>
                    <a:pt x="1" y="407"/>
                    <a:pt x="1" y="407"/>
                  </a:cubicBezTo>
                  <a:cubicBezTo>
                    <a:pt x="1" y="408"/>
                    <a:pt x="1" y="408"/>
                    <a:pt x="1" y="409"/>
                  </a:cubicBezTo>
                  <a:cubicBezTo>
                    <a:pt x="1" y="409"/>
                    <a:pt x="1" y="409"/>
                    <a:pt x="1" y="409"/>
                  </a:cubicBezTo>
                  <a:cubicBezTo>
                    <a:pt x="1" y="409"/>
                    <a:pt x="1" y="409"/>
                    <a:pt x="1" y="409"/>
                  </a:cubicBezTo>
                  <a:cubicBezTo>
                    <a:pt x="1" y="409"/>
                    <a:pt x="1" y="409"/>
                    <a:pt x="1" y="409"/>
                  </a:cubicBezTo>
                  <a:cubicBezTo>
                    <a:pt x="1" y="409"/>
                    <a:pt x="1" y="409"/>
                    <a:pt x="1" y="410"/>
                  </a:cubicBezTo>
                  <a:cubicBezTo>
                    <a:pt x="1" y="410"/>
                    <a:pt x="1" y="410"/>
                    <a:pt x="1" y="410"/>
                  </a:cubicBezTo>
                  <a:cubicBezTo>
                    <a:pt x="1" y="410"/>
                    <a:pt x="1" y="410"/>
                    <a:pt x="1" y="410"/>
                  </a:cubicBezTo>
                  <a:cubicBezTo>
                    <a:pt x="1" y="410"/>
                    <a:pt x="1" y="410"/>
                    <a:pt x="1" y="410"/>
                  </a:cubicBezTo>
                  <a:cubicBezTo>
                    <a:pt x="1" y="410"/>
                    <a:pt x="1" y="410"/>
                    <a:pt x="1" y="411"/>
                  </a:cubicBezTo>
                  <a:cubicBezTo>
                    <a:pt x="1" y="411"/>
                    <a:pt x="1" y="411"/>
                    <a:pt x="1" y="411"/>
                  </a:cubicBezTo>
                  <a:cubicBezTo>
                    <a:pt x="1" y="411"/>
                    <a:pt x="1" y="411"/>
                    <a:pt x="1" y="411"/>
                  </a:cubicBezTo>
                  <a:cubicBezTo>
                    <a:pt x="1" y="411"/>
                    <a:pt x="1" y="411"/>
                    <a:pt x="1" y="411"/>
                  </a:cubicBezTo>
                  <a:cubicBezTo>
                    <a:pt x="1" y="411"/>
                    <a:pt x="1" y="411"/>
                    <a:pt x="1" y="412"/>
                  </a:cubicBezTo>
                  <a:cubicBezTo>
                    <a:pt x="1" y="412"/>
                    <a:pt x="1" y="412"/>
                    <a:pt x="1" y="412"/>
                  </a:cubicBezTo>
                  <a:cubicBezTo>
                    <a:pt x="1" y="412"/>
                    <a:pt x="1" y="412"/>
                    <a:pt x="1" y="412"/>
                  </a:cubicBezTo>
                  <a:cubicBezTo>
                    <a:pt x="1" y="412"/>
                    <a:pt x="1" y="412"/>
                    <a:pt x="1" y="412"/>
                  </a:cubicBezTo>
                  <a:cubicBezTo>
                    <a:pt x="1" y="412"/>
                    <a:pt x="1" y="412"/>
                    <a:pt x="1" y="413"/>
                  </a:cubicBezTo>
                  <a:cubicBezTo>
                    <a:pt x="1" y="413"/>
                    <a:pt x="1" y="413"/>
                    <a:pt x="1" y="413"/>
                  </a:cubicBezTo>
                  <a:cubicBezTo>
                    <a:pt x="1" y="413"/>
                    <a:pt x="1" y="413"/>
                    <a:pt x="1" y="413"/>
                  </a:cubicBezTo>
                  <a:cubicBezTo>
                    <a:pt x="1" y="413"/>
                    <a:pt x="1" y="413"/>
                    <a:pt x="1" y="413"/>
                  </a:cubicBezTo>
                  <a:cubicBezTo>
                    <a:pt x="1" y="413"/>
                    <a:pt x="1" y="414"/>
                    <a:pt x="1" y="414"/>
                  </a:cubicBezTo>
                  <a:cubicBezTo>
                    <a:pt x="1" y="414"/>
                    <a:pt x="1" y="414"/>
                    <a:pt x="1" y="414"/>
                  </a:cubicBezTo>
                  <a:cubicBezTo>
                    <a:pt x="1" y="414"/>
                    <a:pt x="1" y="414"/>
                    <a:pt x="1" y="414"/>
                  </a:cubicBezTo>
                  <a:cubicBezTo>
                    <a:pt x="1" y="414"/>
                    <a:pt x="1" y="414"/>
                    <a:pt x="1" y="415"/>
                  </a:cubicBezTo>
                  <a:cubicBezTo>
                    <a:pt x="1" y="415"/>
                    <a:pt x="1" y="415"/>
                    <a:pt x="1" y="415"/>
                  </a:cubicBezTo>
                  <a:cubicBezTo>
                    <a:pt x="1" y="415"/>
                    <a:pt x="1" y="415"/>
                    <a:pt x="1" y="415"/>
                  </a:cubicBezTo>
                  <a:cubicBezTo>
                    <a:pt x="1" y="415"/>
                    <a:pt x="1" y="415"/>
                    <a:pt x="1" y="415"/>
                  </a:cubicBezTo>
                  <a:cubicBezTo>
                    <a:pt x="1" y="415"/>
                    <a:pt x="1" y="415"/>
                    <a:pt x="1" y="416"/>
                  </a:cubicBezTo>
                  <a:cubicBezTo>
                    <a:pt x="1" y="416"/>
                    <a:pt x="1" y="416"/>
                    <a:pt x="1" y="416"/>
                  </a:cubicBezTo>
                  <a:cubicBezTo>
                    <a:pt x="1" y="416"/>
                    <a:pt x="1" y="416"/>
                    <a:pt x="1" y="416"/>
                  </a:cubicBezTo>
                  <a:cubicBezTo>
                    <a:pt x="1" y="416"/>
                    <a:pt x="1" y="416"/>
                    <a:pt x="1" y="416"/>
                  </a:cubicBezTo>
                  <a:cubicBezTo>
                    <a:pt x="1" y="416"/>
                    <a:pt x="1" y="416"/>
                    <a:pt x="1" y="417"/>
                  </a:cubicBezTo>
                  <a:cubicBezTo>
                    <a:pt x="1" y="417"/>
                    <a:pt x="1" y="417"/>
                    <a:pt x="1" y="417"/>
                  </a:cubicBezTo>
                  <a:cubicBezTo>
                    <a:pt x="1" y="417"/>
                    <a:pt x="1" y="417"/>
                    <a:pt x="1" y="417"/>
                  </a:cubicBezTo>
                  <a:cubicBezTo>
                    <a:pt x="1" y="417"/>
                    <a:pt x="1" y="417"/>
                    <a:pt x="1" y="417"/>
                  </a:cubicBezTo>
                  <a:cubicBezTo>
                    <a:pt x="1" y="417"/>
                    <a:pt x="1" y="417"/>
                    <a:pt x="1" y="418"/>
                  </a:cubicBezTo>
                  <a:cubicBezTo>
                    <a:pt x="1" y="418"/>
                    <a:pt x="1" y="418"/>
                    <a:pt x="1" y="418"/>
                  </a:cubicBezTo>
                  <a:cubicBezTo>
                    <a:pt x="1" y="418"/>
                    <a:pt x="1" y="418"/>
                    <a:pt x="1" y="418"/>
                  </a:cubicBezTo>
                  <a:cubicBezTo>
                    <a:pt x="1" y="418"/>
                    <a:pt x="1" y="418"/>
                    <a:pt x="1" y="418"/>
                  </a:cubicBezTo>
                  <a:cubicBezTo>
                    <a:pt x="1" y="418"/>
                    <a:pt x="1" y="419"/>
                    <a:pt x="1" y="419"/>
                  </a:cubicBezTo>
                  <a:cubicBezTo>
                    <a:pt x="1" y="419"/>
                    <a:pt x="1" y="419"/>
                    <a:pt x="1" y="419"/>
                  </a:cubicBezTo>
                  <a:cubicBezTo>
                    <a:pt x="1" y="419"/>
                    <a:pt x="0" y="419"/>
                    <a:pt x="0" y="419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20"/>
                    <a:pt x="0" y="420"/>
                    <a:pt x="0" y="420"/>
                  </a:cubicBezTo>
                  <a:cubicBezTo>
                    <a:pt x="0" y="420"/>
                    <a:pt x="0" y="420"/>
                    <a:pt x="0" y="420"/>
                  </a:cubicBezTo>
                  <a:cubicBezTo>
                    <a:pt x="0" y="420"/>
                    <a:pt x="0" y="420"/>
                    <a:pt x="0" y="420"/>
                  </a:cubicBezTo>
                  <a:cubicBezTo>
                    <a:pt x="0" y="420"/>
                    <a:pt x="0" y="421"/>
                    <a:pt x="0" y="421"/>
                  </a:cubicBezTo>
                  <a:cubicBezTo>
                    <a:pt x="0" y="421"/>
                    <a:pt x="0" y="421"/>
                    <a:pt x="0" y="421"/>
                  </a:cubicBezTo>
                  <a:cubicBezTo>
                    <a:pt x="0" y="421"/>
                    <a:pt x="0" y="421"/>
                    <a:pt x="0" y="421"/>
                  </a:cubicBezTo>
                  <a:cubicBezTo>
                    <a:pt x="0" y="421"/>
                    <a:pt x="0" y="421"/>
                    <a:pt x="0" y="421"/>
                  </a:cubicBezTo>
                  <a:cubicBezTo>
                    <a:pt x="0" y="421"/>
                    <a:pt x="0" y="422"/>
                    <a:pt x="0" y="422"/>
                  </a:cubicBezTo>
                  <a:cubicBezTo>
                    <a:pt x="0" y="422"/>
                    <a:pt x="0" y="422"/>
                    <a:pt x="0" y="422"/>
                  </a:cubicBezTo>
                  <a:cubicBezTo>
                    <a:pt x="0" y="422"/>
                    <a:pt x="0" y="422"/>
                    <a:pt x="0" y="422"/>
                  </a:cubicBezTo>
                  <a:cubicBezTo>
                    <a:pt x="0" y="422"/>
                    <a:pt x="0" y="422"/>
                    <a:pt x="0" y="422"/>
                  </a:cubicBezTo>
                  <a:cubicBezTo>
                    <a:pt x="0" y="422"/>
                    <a:pt x="0" y="423"/>
                    <a:pt x="0" y="423"/>
                  </a:cubicBezTo>
                  <a:cubicBezTo>
                    <a:pt x="0" y="423"/>
                    <a:pt x="0" y="423"/>
                    <a:pt x="0" y="423"/>
                  </a:cubicBezTo>
                  <a:cubicBezTo>
                    <a:pt x="2" y="305"/>
                    <a:pt x="36" y="194"/>
                    <a:pt x="94" y="100"/>
                  </a:cubicBezTo>
                  <a:cubicBezTo>
                    <a:pt x="95" y="131"/>
                    <a:pt x="101" y="173"/>
                    <a:pt x="128" y="205"/>
                  </a:cubicBezTo>
                  <a:cubicBezTo>
                    <a:pt x="135" y="141"/>
                    <a:pt x="151" y="81"/>
                    <a:pt x="175" y="24"/>
                  </a:cubicBezTo>
                  <a:cubicBezTo>
                    <a:pt x="173" y="16"/>
                    <a:pt x="172" y="8"/>
                    <a:pt x="170" y="0"/>
                  </a:cubicBezTo>
                </a:path>
              </a:pathLst>
            </a:custGeom>
            <a:solidFill>
              <a:srgbClr val="0ABA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6">
              <a:extLst>
                <a:ext uri="{FF2B5EF4-FFF2-40B4-BE49-F238E27FC236}">
                  <a16:creationId xmlns="" xmlns:a16="http://schemas.microsoft.com/office/drawing/2014/main" id="{8C2F4F3E-9B58-4313-8B5A-B8CE883EC0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0400" y="2178051"/>
              <a:ext cx="935038" cy="2562225"/>
            </a:xfrm>
            <a:custGeom>
              <a:avLst/>
              <a:gdLst>
                <a:gd name="T0" fmla="*/ 0 w 313"/>
                <a:gd name="T1" fmla="*/ 323 h 859"/>
                <a:gd name="T2" fmla="*/ 0 w 313"/>
                <a:gd name="T3" fmla="*/ 323 h 859"/>
                <a:gd name="T4" fmla="*/ 0 w 313"/>
                <a:gd name="T5" fmla="*/ 324 h 859"/>
                <a:gd name="T6" fmla="*/ 0 w 313"/>
                <a:gd name="T7" fmla="*/ 324 h 859"/>
                <a:gd name="T8" fmla="*/ 0 w 313"/>
                <a:gd name="T9" fmla="*/ 324 h 859"/>
                <a:gd name="T10" fmla="*/ 0 w 313"/>
                <a:gd name="T11" fmla="*/ 324 h 859"/>
                <a:gd name="T12" fmla="*/ 0 w 313"/>
                <a:gd name="T13" fmla="*/ 325 h 859"/>
                <a:gd name="T14" fmla="*/ 0 w 313"/>
                <a:gd name="T15" fmla="*/ 326 h 859"/>
                <a:gd name="T16" fmla="*/ 0 w 313"/>
                <a:gd name="T17" fmla="*/ 326 h 859"/>
                <a:gd name="T18" fmla="*/ 0 w 313"/>
                <a:gd name="T19" fmla="*/ 326 h 859"/>
                <a:gd name="T20" fmla="*/ 0 w 313"/>
                <a:gd name="T21" fmla="*/ 327 h 859"/>
                <a:gd name="T22" fmla="*/ 0 w 313"/>
                <a:gd name="T23" fmla="*/ 327 h 859"/>
                <a:gd name="T24" fmla="*/ 0 w 313"/>
                <a:gd name="T25" fmla="*/ 327 h 859"/>
                <a:gd name="T26" fmla="*/ 0 w 313"/>
                <a:gd name="T27" fmla="*/ 327 h 859"/>
                <a:gd name="T28" fmla="*/ 0 w 313"/>
                <a:gd name="T29" fmla="*/ 328 h 859"/>
                <a:gd name="T30" fmla="*/ 0 w 313"/>
                <a:gd name="T31" fmla="*/ 328 h 859"/>
                <a:gd name="T32" fmla="*/ 0 w 313"/>
                <a:gd name="T33" fmla="*/ 329 h 859"/>
                <a:gd name="T34" fmla="*/ 0 w 313"/>
                <a:gd name="T35" fmla="*/ 329 h 859"/>
                <a:gd name="T36" fmla="*/ 0 w 313"/>
                <a:gd name="T37" fmla="*/ 330 h 859"/>
                <a:gd name="T38" fmla="*/ 0 w 313"/>
                <a:gd name="T39" fmla="*/ 330 h 859"/>
                <a:gd name="T40" fmla="*/ 0 w 313"/>
                <a:gd name="T41" fmla="*/ 330 h 859"/>
                <a:gd name="T42" fmla="*/ 0 w 313"/>
                <a:gd name="T43" fmla="*/ 331 h 859"/>
                <a:gd name="T44" fmla="*/ 0 w 313"/>
                <a:gd name="T45" fmla="*/ 331 h 859"/>
                <a:gd name="T46" fmla="*/ 0 w 313"/>
                <a:gd name="T47" fmla="*/ 332 h 859"/>
                <a:gd name="T48" fmla="*/ 0 w 313"/>
                <a:gd name="T49" fmla="*/ 332 h 859"/>
                <a:gd name="T50" fmla="*/ 0 w 313"/>
                <a:gd name="T51" fmla="*/ 333 h 859"/>
                <a:gd name="T52" fmla="*/ 0 w 313"/>
                <a:gd name="T53" fmla="*/ 333 h 859"/>
                <a:gd name="T54" fmla="*/ 0 w 313"/>
                <a:gd name="T55" fmla="*/ 334 h 859"/>
                <a:gd name="T56" fmla="*/ 0 w 313"/>
                <a:gd name="T57" fmla="*/ 334 h 859"/>
                <a:gd name="T58" fmla="*/ 0 w 313"/>
                <a:gd name="T59" fmla="*/ 335 h 859"/>
                <a:gd name="T60" fmla="*/ 0 w 313"/>
                <a:gd name="T61" fmla="*/ 336 h 859"/>
                <a:gd name="T62" fmla="*/ 0 w 313"/>
                <a:gd name="T63" fmla="*/ 336 h 859"/>
                <a:gd name="T64" fmla="*/ 0 w 313"/>
                <a:gd name="T65" fmla="*/ 337 h 859"/>
                <a:gd name="T66" fmla="*/ 0 w 313"/>
                <a:gd name="T67" fmla="*/ 337 h 859"/>
                <a:gd name="T68" fmla="*/ 0 w 313"/>
                <a:gd name="T69" fmla="*/ 338 h 859"/>
                <a:gd name="T70" fmla="*/ 0 w 313"/>
                <a:gd name="T71" fmla="*/ 338 h 859"/>
                <a:gd name="T72" fmla="*/ 0 w 313"/>
                <a:gd name="T73" fmla="*/ 339 h 859"/>
                <a:gd name="T74" fmla="*/ 0 w 313"/>
                <a:gd name="T75" fmla="*/ 340 h 859"/>
                <a:gd name="T76" fmla="*/ 0 w 313"/>
                <a:gd name="T77" fmla="*/ 340 h 859"/>
                <a:gd name="T78" fmla="*/ 0 w 313"/>
                <a:gd name="T79" fmla="*/ 341 h 859"/>
                <a:gd name="T80" fmla="*/ 0 w 313"/>
                <a:gd name="T81" fmla="*/ 341 h 859"/>
                <a:gd name="T82" fmla="*/ 0 w 313"/>
                <a:gd name="T83" fmla="*/ 342 h 859"/>
                <a:gd name="T84" fmla="*/ 0 w 313"/>
                <a:gd name="T85" fmla="*/ 343 h 859"/>
                <a:gd name="T86" fmla="*/ 1 w 313"/>
                <a:gd name="T87" fmla="*/ 343 h 859"/>
                <a:gd name="T88" fmla="*/ 1 w 313"/>
                <a:gd name="T89" fmla="*/ 344 h 859"/>
                <a:gd name="T90" fmla="*/ 1 w 313"/>
                <a:gd name="T91" fmla="*/ 345 h 859"/>
                <a:gd name="T92" fmla="*/ 1 w 313"/>
                <a:gd name="T93" fmla="*/ 345 h 859"/>
                <a:gd name="T94" fmla="*/ 1 w 313"/>
                <a:gd name="T95" fmla="*/ 345 h 859"/>
                <a:gd name="T96" fmla="*/ 1 w 313"/>
                <a:gd name="T97" fmla="*/ 346 h 859"/>
                <a:gd name="T98" fmla="*/ 1 w 313"/>
                <a:gd name="T99" fmla="*/ 347 h 859"/>
                <a:gd name="T100" fmla="*/ 1 w 313"/>
                <a:gd name="T101" fmla="*/ 347 h 859"/>
                <a:gd name="T102" fmla="*/ 1 w 313"/>
                <a:gd name="T103" fmla="*/ 348 h 859"/>
                <a:gd name="T104" fmla="*/ 1 w 313"/>
                <a:gd name="T105" fmla="*/ 348 h 859"/>
                <a:gd name="T106" fmla="*/ 1 w 313"/>
                <a:gd name="T107" fmla="*/ 350 h 859"/>
                <a:gd name="T108" fmla="*/ 1 w 313"/>
                <a:gd name="T109" fmla="*/ 351 h 859"/>
                <a:gd name="T110" fmla="*/ 1 w 313"/>
                <a:gd name="T111" fmla="*/ 353 h 859"/>
                <a:gd name="T112" fmla="*/ 1 w 313"/>
                <a:gd name="T113" fmla="*/ 354 h 859"/>
                <a:gd name="T114" fmla="*/ 1 w 313"/>
                <a:gd name="T115" fmla="*/ 356 h 859"/>
                <a:gd name="T116" fmla="*/ 287 w 313"/>
                <a:gd name="T117" fmla="*/ 859 h 859"/>
                <a:gd name="T118" fmla="*/ 183 w 313"/>
                <a:gd name="T119" fmla="*/ 435 h 859"/>
                <a:gd name="T120" fmla="*/ 128 w 313"/>
                <a:gd name="T121" fmla="*/ 105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3" h="859">
                  <a:moveTo>
                    <a:pt x="94" y="0"/>
                  </a:moveTo>
                  <a:cubicBezTo>
                    <a:pt x="36" y="94"/>
                    <a:pt x="2" y="205"/>
                    <a:pt x="0" y="323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0" y="323"/>
                    <a:pt x="0" y="323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0" y="324"/>
                    <a:pt x="0" y="324"/>
                    <a:pt x="0" y="324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0" y="325"/>
                    <a:pt x="0" y="325"/>
                    <a:pt x="0" y="326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0" y="326"/>
                    <a:pt x="0" y="327"/>
                    <a:pt x="0" y="327"/>
                  </a:cubicBezTo>
                  <a:cubicBezTo>
                    <a:pt x="0" y="327"/>
                    <a:pt x="0" y="327"/>
                    <a:pt x="0" y="327"/>
                  </a:cubicBezTo>
                  <a:cubicBezTo>
                    <a:pt x="0" y="327"/>
                    <a:pt x="0" y="327"/>
                    <a:pt x="0" y="327"/>
                  </a:cubicBezTo>
                  <a:cubicBezTo>
                    <a:pt x="0" y="327"/>
                    <a:pt x="0" y="327"/>
                    <a:pt x="0" y="327"/>
                  </a:cubicBezTo>
                  <a:cubicBezTo>
                    <a:pt x="0" y="327"/>
                    <a:pt x="0" y="327"/>
                    <a:pt x="0" y="327"/>
                  </a:cubicBezTo>
                  <a:cubicBezTo>
                    <a:pt x="0" y="327"/>
                    <a:pt x="0" y="327"/>
                    <a:pt x="0" y="327"/>
                  </a:cubicBezTo>
                  <a:cubicBezTo>
                    <a:pt x="0" y="327"/>
                    <a:pt x="0" y="327"/>
                    <a:pt x="0" y="327"/>
                  </a:cubicBezTo>
                  <a:cubicBezTo>
                    <a:pt x="0" y="328"/>
                    <a:pt x="0" y="328"/>
                    <a:pt x="0" y="328"/>
                  </a:cubicBezTo>
                  <a:cubicBezTo>
                    <a:pt x="0" y="328"/>
                    <a:pt x="0" y="328"/>
                    <a:pt x="0" y="328"/>
                  </a:cubicBezTo>
                  <a:cubicBezTo>
                    <a:pt x="0" y="328"/>
                    <a:pt x="0" y="328"/>
                    <a:pt x="0" y="328"/>
                  </a:cubicBezTo>
                  <a:cubicBezTo>
                    <a:pt x="0" y="328"/>
                    <a:pt x="0" y="328"/>
                    <a:pt x="0" y="328"/>
                  </a:cubicBezTo>
                  <a:cubicBezTo>
                    <a:pt x="0" y="328"/>
                    <a:pt x="0" y="328"/>
                    <a:pt x="0" y="328"/>
                  </a:cubicBezTo>
                  <a:cubicBezTo>
                    <a:pt x="0" y="329"/>
                    <a:pt x="0" y="329"/>
                    <a:pt x="0" y="329"/>
                  </a:cubicBezTo>
                  <a:cubicBezTo>
                    <a:pt x="0" y="329"/>
                    <a:pt x="0" y="329"/>
                    <a:pt x="0" y="329"/>
                  </a:cubicBezTo>
                  <a:cubicBezTo>
                    <a:pt x="0" y="329"/>
                    <a:pt x="0" y="329"/>
                    <a:pt x="0" y="329"/>
                  </a:cubicBezTo>
                  <a:cubicBezTo>
                    <a:pt x="0" y="329"/>
                    <a:pt x="0" y="329"/>
                    <a:pt x="0" y="329"/>
                  </a:cubicBezTo>
                  <a:cubicBezTo>
                    <a:pt x="0" y="329"/>
                    <a:pt x="0" y="329"/>
                    <a:pt x="0" y="33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0" y="331"/>
                    <a:pt x="0" y="331"/>
                    <a:pt x="0" y="331"/>
                  </a:cubicBezTo>
                  <a:cubicBezTo>
                    <a:pt x="0" y="331"/>
                    <a:pt x="0" y="331"/>
                    <a:pt x="0" y="331"/>
                  </a:cubicBezTo>
                  <a:cubicBezTo>
                    <a:pt x="0" y="331"/>
                    <a:pt x="0" y="331"/>
                    <a:pt x="0" y="331"/>
                  </a:cubicBezTo>
                  <a:cubicBezTo>
                    <a:pt x="0" y="331"/>
                    <a:pt x="0" y="331"/>
                    <a:pt x="0" y="331"/>
                  </a:cubicBezTo>
                  <a:cubicBezTo>
                    <a:pt x="0" y="331"/>
                    <a:pt x="0" y="331"/>
                    <a:pt x="0" y="332"/>
                  </a:cubicBezTo>
                  <a:cubicBezTo>
                    <a:pt x="0" y="332"/>
                    <a:pt x="0" y="332"/>
                    <a:pt x="0" y="332"/>
                  </a:cubicBezTo>
                  <a:cubicBezTo>
                    <a:pt x="0" y="332"/>
                    <a:pt x="0" y="332"/>
                    <a:pt x="0" y="332"/>
                  </a:cubicBezTo>
                  <a:cubicBezTo>
                    <a:pt x="0" y="332"/>
                    <a:pt x="0" y="332"/>
                    <a:pt x="0" y="332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33"/>
                    <a:pt x="0" y="333"/>
                    <a:pt x="0" y="334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36"/>
                    <a:pt x="0" y="336"/>
                    <a:pt x="0" y="336"/>
                  </a:cubicBezTo>
                  <a:cubicBezTo>
                    <a:pt x="0" y="336"/>
                    <a:pt x="0" y="336"/>
                    <a:pt x="0" y="336"/>
                  </a:cubicBezTo>
                  <a:cubicBezTo>
                    <a:pt x="0" y="336"/>
                    <a:pt x="0" y="336"/>
                    <a:pt x="0" y="336"/>
                  </a:cubicBezTo>
                  <a:cubicBezTo>
                    <a:pt x="0" y="336"/>
                    <a:pt x="0" y="336"/>
                    <a:pt x="0" y="336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0" y="337"/>
                    <a:pt x="0" y="338"/>
                    <a:pt x="0" y="338"/>
                  </a:cubicBezTo>
                  <a:cubicBezTo>
                    <a:pt x="0" y="338"/>
                    <a:pt x="0" y="338"/>
                    <a:pt x="0" y="338"/>
                  </a:cubicBezTo>
                  <a:cubicBezTo>
                    <a:pt x="0" y="338"/>
                    <a:pt x="0" y="338"/>
                    <a:pt x="0" y="338"/>
                  </a:cubicBezTo>
                  <a:cubicBezTo>
                    <a:pt x="0" y="338"/>
                    <a:pt x="0" y="338"/>
                    <a:pt x="0" y="338"/>
                  </a:cubicBezTo>
                  <a:cubicBezTo>
                    <a:pt x="0" y="338"/>
                    <a:pt x="0" y="339"/>
                    <a:pt x="0" y="339"/>
                  </a:cubicBezTo>
                  <a:cubicBezTo>
                    <a:pt x="0" y="339"/>
                    <a:pt x="0" y="339"/>
                    <a:pt x="0" y="339"/>
                  </a:cubicBezTo>
                  <a:cubicBezTo>
                    <a:pt x="0" y="339"/>
                    <a:pt x="0" y="339"/>
                    <a:pt x="0" y="339"/>
                  </a:cubicBezTo>
                  <a:cubicBezTo>
                    <a:pt x="0" y="339"/>
                    <a:pt x="0" y="339"/>
                    <a:pt x="0" y="340"/>
                  </a:cubicBezTo>
                  <a:cubicBezTo>
                    <a:pt x="0" y="340"/>
                    <a:pt x="0" y="340"/>
                    <a:pt x="0" y="340"/>
                  </a:cubicBezTo>
                  <a:cubicBezTo>
                    <a:pt x="0" y="340"/>
                    <a:pt x="0" y="340"/>
                    <a:pt x="0" y="340"/>
                  </a:cubicBezTo>
                  <a:cubicBezTo>
                    <a:pt x="0" y="340"/>
                    <a:pt x="0" y="340"/>
                    <a:pt x="0" y="340"/>
                  </a:cubicBezTo>
                  <a:cubicBezTo>
                    <a:pt x="0" y="340"/>
                    <a:pt x="0" y="341"/>
                    <a:pt x="0" y="341"/>
                  </a:cubicBezTo>
                  <a:cubicBezTo>
                    <a:pt x="0" y="341"/>
                    <a:pt x="0" y="341"/>
                    <a:pt x="0" y="341"/>
                  </a:cubicBezTo>
                  <a:cubicBezTo>
                    <a:pt x="0" y="341"/>
                    <a:pt x="0" y="341"/>
                    <a:pt x="0" y="341"/>
                  </a:cubicBezTo>
                  <a:cubicBezTo>
                    <a:pt x="0" y="341"/>
                    <a:pt x="0" y="341"/>
                    <a:pt x="0" y="341"/>
                  </a:cubicBezTo>
                  <a:cubicBezTo>
                    <a:pt x="0" y="342"/>
                    <a:pt x="0" y="342"/>
                    <a:pt x="0" y="342"/>
                  </a:cubicBezTo>
                  <a:cubicBezTo>
                    <a:pt x="0" y="342"/>
                    <a:pt x="0" y="342"/>
                    <a:pt x="0" y="342"/>
                  </a:cubicBezTo>
                  <a:cubicBezTo>
                    <a:pt x="0" y="342"/>
                    <a:pt x="0" y="342"/>
                    <a:pt x="0" y="343"/>
                  </a:cubicBezTo>
                  <a:cubicBezTo>
                    <a:pt x="0" y="343"/>
                    <a:pt x="0" y="343"/>
                    <a:pt x="0" y="343"/>
                  </a:cubicBezTo>
                  <a:cubicBezTo>
                    <a:pt x="0" y="343"/>
                    <a:pt x="1" y="343"/>
                    <a:pt x="1" y="343"/>
                  </a:cubicBezTo>
                  <a:cubicBezTo>
                    <a:pt x="1" y="343"/>
                    <a:pt x="1" y="343"/>
                    <a:pt x="1" y="343"/>
                  </a:cubicBezTo>
                  <a:cubicBezTo>
                    <a:pt x="1" y="344"/>
                    <a:pt x="1" y="344"/>
                    <a:pt x="1" y="344"/>
                  </a:cubicBezTo>
                  <a:cubicBezTo>
                    <a:pt x="1" y="344"/>
                    <a:pt x="1" y="344"/>
                    <a:pt x="1" y="344"/>
                  </a:cubicBezTo>
                  <a:cubicBezTo>
                    <a:pt x="1" y="344"/>
                    <a:pt x="1" y="344"/>
                    <a:pt x="1" y="345"/>
                  </a:cubicBezTo>
                  <a:cubicBezTo>
                    <a:pt x="1" y="345"/>
                    <a:pt x="1" y="345"/>
                    <a:pt x="1" y="345"/>
                  </a:cubicBezTo>
                  <a:cubicBezTo>
                    <a:pt x="1" y="345"/>
                    <a:pt x="1" y="345"/>
                    <a:pt x="1" y="345"/>
                  </a:cubicBezTo>
                  <a:cubicBezTo>
                    <a:pt x="1" y="345"/>
                    <a:pt x="1" y="345"/>
                    <a:pt x="1" y="345"/>
                  </a:cubicBezTo>
                  <a:cubicBezTo>
                    <a:pt x="1" y="345"/>
                    <a:pt x="1" y="345"/>
                    <a:pt x="1" y="345"/>
                  </a:cubicBezTo>
                  <a:cubicBezTo>
                    <a:pt x="1" y="345"/>
                    <a:pt x="1" y="345"/>
                    <a:pt x="1" y="345"/>
                  </a:cubicBezTo>
                  <a:cubicBezTo>
                    <a:pt x="1" y="345"/>
                    <a:pt x="1" y="346"/>
                    <a:pt x="1" y="346"/>
                  </a:cubicBezTo>
                  <a:cubicBezTo>
                    <a:pt x="1" y="346"/>
                    <a:pt x="1" y="346"/>
                    <a:pt x="1" y="346"/>
                  </a:cubicBezTo>
                  <a:cubicBezTo>
                    <a:pt x="1" y="346"/>
                    <a:pt x="1" y="346"/>
                    <a:pt x="1" y="347"/>
                  </a:cubicBezTo>
                  <a:cubicBezTo>
                    <a:pt x="1" y="347"/>
                    <a:pt x="1" y="347"/>
                    <a:pt x="1" y="347"/>
                  </a:cubicBezTo>
                  <a:cubicBezTo>
                    <a:pt x="1" y="347"/>
                    <a:pt x="1" y="347"/>
                    <a:pt x="1" y="347"/>
                  </a:cubicBezTo>
                  <a:cubicBezTo>
                    <a:pt x="1" y="347"/>
                    <a:pt x="1" y="347"/>
                    <a:pt x="1" y="347"/>
                  </a:cubicBezTo>
                  <a:cubicBezTo>
                    <a:pt x="1" y="347"/>
                    <a:pt x="1" y="348"/>
                    <a:pt x="1" y="348"/>
                  </a:cubicBezTo>
                  <a:cubicBezTo>
                    <a:pt x="1" y="348"/>
                    <a:pt x="1" y="348"/>
                    <a:pt x="1" y="348"/>
                  </a:cubicBezTo>
                  <a:cubicBezTo>
                    <a:pt x="1" y="348"/>
                    <a:pt x="1" y="348"/>
                    <a:pt x="1" y="348"/>
                  </a:cubicBezTo>
                  <a:cubicBezTo>
                    <a:pt x="1" y="348"/>
                    <a:pt x="1" y="348"/>
                    <a:pt x="1" y="349"/>
                  </a:cubicBezTo>
                  <a:cubicBezTo>
                    <a:pt x="1" y="349"/>
                    <a:pt x="1" y="350"/>
                    <a:pt x="1" y="350"/>
                  </a:cubicBezTo>
                  <a:cubicBezTo>
                    <a:pt x="1" y="350"/>
                    <a:pt x="1" y="350"/>
                    <a:pt x="1" y="350"/>
                  </a:cubicBezTo>
                  <a:cubicBezTo>
                    <a:pt x="1" y="351"/>
                    <a:pt x="1" y="351"/>
                    <a:pt x="1" y="351"/>
                  </a:cubicBezTo>
                  <a:cubicBezTo>
                    <a:pt x="1" y="351"/>
                    <a:pt x="1" y="351"/>
                    <a:pt x="1" y="351"/>
                  </a:cubicBezTo>
                  <a:cubicBezTo>
                    <a:pt x="1" y="352"/>
                    <a:pt x="1" y="352"/>
                    <a:pt x="1" y="353"/>
                  </a:cubicBezTo>
                  <a:cubicBezTo>
                    <a:pt x="1" y="353"/>
                    <a:pt x="1" y="353"/>
                    <a:pt x="1" y="353"/>
                  </a:cubicBezTo>
                  <a:cubicBezTo>
                    <a:pt x="1" y="353"/>
                    <a:pt x="1" y="353"/>
                    <a:pt x="1" y="354"/>
                  </a:cubicBezTo>
                  <a:cubicBezTo>
                    <a:pt x="1" y="354"/>
                    <a:pt x="1" y="354"/>
                    <a:pt x="1" y="354"/>
                  </a:cubicBezTo>
                  <a:cubicBezTo>
                    <a:pt x="1" y="354"/>
                    <a:pt x="1" y="355"/>
                    <a:pt x="1" y="356"/>
                  </a:cubicBezTo>
                  <a:cubicBezTo>
                    <a:pt x="1" y="356"/>
                    <a:pt x="1" y="356"/>
                    <a:pt x="1" y="356"/>
                  </a:cubicBezTo>
                  <a:cubicBezTo>
                    <a:pt x="9" y="567"/>
                    <a:pt x="121" y="751"/>
                    <a:pt x="287" y="859"/>
                  </a:cubicBezTo>
                  <a:cubicBezTo>
                    <a:pt x="313" y="791"/>
                    <a:pt x="277" y="707"/>
                    <a:pt x="242" y="669"/>
                  </a:cubicBezTo>
                  <a:cubicBezTo>
                    <a:pt x="203" y="628"/>
                    <a:pt x="174" y="521"/>
                    <a:pt x="183" y="435"/>
                  </a:cubicBezTo>
                  <a:cubicBezTo>
                    <a:pt x="146" y="355"/>
                    <a:pt x="125" y="265"/>
                    <a:pt x="125" y="170"/>
                  </a:cubicBezTo>
                  <a:cubicBezTo>
                    <a:pt x="125" y="148"/>
                    <a:pt x="126" y="126"/>
                    <a:pt x="128" y="105"/>
                  </a:cubicBezTo>
                  <a:cubicBezTo>
                    <a:pt x="101" y="73"/>
                    <a:pt x="95" y="31"/>
                    <a:pt x="94" y="0"/>
                  </a:cubicBezTo>
                </a:path>
              </a:pathLst>
            </a:custGeom>
            <a:solidFill>
              <a:srgbClr val="089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27">
              <a:extLst>
                <a:ext uri="{FF2B5EF4-FFF2-40B4-BE49-F238E27FC236}">
                  <a16:creationId xmlns="" xmlns:a16="http://schemas.microsoft.com/office/drawing/2014/main" id="{DB958E39-096F-434C-94AA-B871DEA6D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5" y="4059238"/>
              <a:ext cx="887413" cy="590550"/>
            </a:xfrm>
            <a:custGeom>
              <a:avLst/>
              <a:gdLst>
                <a:gd name="T0" fmla="*/ 297 w 297"/>
                <a:gd name="T1" fmla="*/ 0 h 198"/>
                <a:gd name="T2" fmla="*/ 0 w 297"/>
                <a:gd name="T3" fmla="*/ 156 h 198"/>
                <a:gd name="T4" fmla="*/ 129 w 297"/>
                <a:gd name="T5" fmla="*/ 198 h 198"/>
                <a:gd name="T6" fmla="*/ 297 w 297"/>
                <a:gd name="T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7" h="198">
                  <a:moveTo>
                    <a:pt x="297" y="0"/>
                  </a:moveTo>
                  <a:cubicBezTo>
                    <a:pt x="215" y="77"/>
                    <a:pt x="113" y="131"/>
                    <a:pt x="0" y="156"/>
                  </a:cubicBezTo>
                  <a:cubicBezTo>
                    <a:pt x="45" y="178"/>
                    <a:pt x="89" y="191"/>
                    <a:pt x="129" y="198"/>
                  </a:cubicBezTo>
                  <a:cubicBezTo>
                    <a:pt x="198" y="145"/>
                    <a:pt x="255" y="77"/>
                    <a:pt x="297" y="0"/>
                  </a:cubicBezTo>
                </a:path>
              </a:pathLst>
            </a:custGeom>
            <a:solidFill>
              <a:srgbClr val="0ABA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8">
              <a:extLst>
                <a:ext uri="{FF2B5EF4-FFF2-40B4-BE49-F238E27FC236}">
                  <a16:creationId xmlns="" xmlns:a16="http://schemas.microsoft.com/office/drawing/2014/main" id="{A0A958A3-4931-427C-89AA-34FF4F965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0050" y="5902326"/>
              <a:ext cx="1719263" cy="236538"/>
            </a:xfrm>
            <a:custGeom>
              <a:avLst/>
              <a:gdLst>
                <a:gd name="T0" fmla="*/ 525 w 576"/>
                <a:gd name="T1" fmla="*/ 22 h 79"/>
                <a:gd name="T2" fmla="*/ 51 w 576"/>
                <a:gd name="T3" fmla="*/ 22 h 79"/>
                <a:gd name="T4" fmla="*/ 9 w 576"/>
                <a:gd name="T5" fmla="*/ 0 h 79"/>
                <a:gd name="T6" fmla="*/ 0 w 576"/>
                <a:gd name="T7" fmla="*/ 28 h 79"/>
                <a:gd name="T8" fmla="*/ 51 w 576"/>
                <a:gd name="T9" fmla="*/ 79 h 79"/>
                <a:gd name="T10" fmla="*/ 525 w 576"/>
                <a:gd name="T11" fmla="*/ 79 h 79"/>
                <a:gd name="T12" fmla="*/ 576 w 576"/>
                <a:gd name="T13" fmla="*/ 28 h 79"/>
                <a:gd name="T14" fmla="*/ 567 w 576"/>
                <a:gd name="T15" fmla="*/ 0 h 79"/>
                <a:gd name="T16" fmla="*/ 525 w 576"/>
                <a:gd name="T17" fmla="*/ 2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6" h="79">
                  <a:moveTo>
                    <a:pt x="525" y="22"/>
                  </a:moveTo>
                  <a:cubicBezTo>
                    <a:pt x="51" y="22"/>
                    <a:pt x="51" y="22"/>
                    <a:pt x="51" y="22"/>
                  </a:cubicBezTo>
                  <a:cubicBezTo>
                    <a:pt x="34" y="22"/>
                    <a:pt x="18" y="13"/>
                    <a:pt x="9" y="0"/>
                  </a:cubicBezTo>
                  <a:cubicBezTo>
                    <a:pt x="4" y="8"/>
                    <a:pt x="0" y="18"/>
                    <a:pt x="0" y="28"/>
                  </a:cubicBezTo>
                  <a:cubicBezTo>
                    <a:pt x="0" y="56"/>
                    <a:pt x="23" y="79"/>
                    <a:pt x="51" y="79"/>
                  </a:cubicBezTo>
                  <a:cubicBezTo>
                    <a:pt x="525" y="79"/>
                    <a:pt x="525" y="79"/>
                    <a:pt x="525" y="79"/>
                  </a:cubicBezTo>
                  <a:cubicBezTo>
                    <a:pt x="553" y="79"/>
                    <a:pt x="576" y="56"/>
                    <a:pt x="576" y="28"/>
                  </a:cubicBezTo>
                  <a:cubicBezTo>
                    <a:pt x="576" y="18"/>
                    <a:pt x="573" y="8"/>
                    <a:pt x="567" y="0"/>
                  </a:cubicBezTo>
                  <a:cubicBezTo>
                    <a:pt x="558" y="13"/>
                    <a:pt x="542" y="22"/>
                    <a:pt x="525" y="22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9">
              <a:extLst>
                <a:ext uri="{FF2B5EF4-FFF2-40B4-BE49-F238E27FC236}">
                  <a16:creationId xmlns="" xmlns:a16="http://schemas.microsoft.com/office/drawing/2014/main" id="{D6C82B26-5BAE-44C3-A017-0577299833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3600" y="1524001"/>
              <a:ext cx="1022350" cy="2782888"/>
            </a:xfrm>
            <a:custGeom>
              <a:avLst/>
              <a:gdLst>
                <a:gd name="T0" fmla="*/ 19 w 342"/>
                <a:gd name="T1" fmla="*/ 0 h 933"/>
                <a:gd name="T2" fmla="*/ 93 w 342"/>
                <a:gd name="T3" fmla="*/ 163 h 933"/>
                <a:gd name="T4" fmla="*/ 138 w 342"/>
                <a:gd name="T5" fmla="*/ 660 h 933"/>
                <a:gd name="T6" fmla="*/ 165 w 342"/>
                <a:gd name="T7" fmla="*/ 926 h 933"/>
                <a:gd name="T8" fmla="*/ 227 w 342"/>
                <a:gd name="T9" fmla="*/ 913 h 933"/>
                <a:gd name="T10" fmla="*/ 342 w 342"/>
                <a:gd name="T11" fmla="*/ 550 h 933"/>
                <a:gd name="T12" fmla="*/ 19 w 342"/>
                <a:gd name="T13" fmla="*/ 0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2" h="933">
                  <a:moveTo>
                    <a:pt x="19" y="0"/>
                  </a:moveTo>
                  <a:cubicBezTo>
                    <a:pt x="18" y="25"/>
                    <a:pt x="28" y="76"/>
                    <a:pt x="93" y="163"/>
                  </a:cubicBezTo>
                  <a:cubicBezTo>
                    <a:pt x="193" y="298"/>
                    <a:pt x="276" y="546"/>
                    <a:pt x="138" y="660"/>
                  </a:cubicBezTo>
                  <a:cubicBezTo>
                    <a:pt x="0" y="774"/>
                    <a:pt x="10" y="933"/>
                    <a:pt x="165" y="926"/>
                  </a:cubicBezTo>
                  <a:cubicBezTo>
                    <a:pt x="186" y="926"/>
                    <a:pt x="207" y="921"/>
                    <a:pt x="227" y="913"/>
                  </a:cubicBezTo>
                  <a:cubicBezTo>
                    <a:pt x="299" y="810"/>
                    <a:pt x="342" y="685"/>
                    <a:pt x="342" y="550"/>
                  </a:cubicBezTo>
                  <a:cubicBezTo>
                    <a:pt x="342" y="314"/>
                    <a:pt x="212" y="108"/>
                    <a:pt x="19" y="0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30">
              <a:extLst>
                <a:ext uri="{FF2B5EF4-FFF2-40B4-BE49-F238E27FC236}">
                  <a16:creationId xmlns="" xmlns:a16="http://schemas.microsoft.com/office/drawing/2014/main" id="{DBEDB649-1C13-41BA-836F-D87FA026F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6625" y="3081338"/>
              <a:ext cx="731838" cy="715963"/>
            </a:xfrm>
            <a:custGeom>
              <a:avLst/>
              <a:gdLst>
                <a:gd name="T0" fmla="*/ 186 w 245"/>
                <a:gd name="T1" fmla="*/ 0 h 240"/>
                <a:gd name="T2" fmla="*/ 104 w 245"/>
                <a:gd name="T3" fmla="*/ 35 h 240"/>
                <a:gd name="T4" fmla="*/ 45 w 245"/>
                <a:gd name="T5" fmla="*/ 228 h 240"/>
                <a:gd name="T6" fmla="*/ 80 w 245"/>
                <a:gd name="T7" fmla="*/ 240 h 240"/>
                <a:gd name="T8" fmla="*/ 245 w 245"/>
                <a:gd name="T9" fmla="*/ 83 h 240"/>
                <a:gd name="T10" fmla="*/ 186 w 245"/>
                <a:gd name="T11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5" h="240">
                  <a:moveTo>
                    <a:pt x="186" y="0"/>
                  </a:moveTo>
                  <a:cubicBezTo>
                    <a:pt x="159" y="0"/>
                    <a:pt x="128" y="15"/>
                    <a:pt x="104" y="35"/>
                  </a:cubicBezTo>
                  <a:cubicBezTo>
                    <a:pt x="35" y="90"/>
                    <a:pt x="0" y="187"/>
                    <a:pt x="45" y="228"/>
                  </a:cubicBezTo>
                  <a:cubicBezTo>
                    <a:pt x="53" y="236"/>
                    <a:pt x="66" y="240"/>
                    <a:pt x="80" y="240"/>
                  </a:cubicBezTo>
                  <a:cubicBezTo>
                    <a:pt x="143" y="240"/>
                    <a:pt x="245" y="173"/>
                    <a:pt x="245" y="83"/>
                  </a:cubicBezTo>
                  <a:cubicBezTo>
                    <a:pt x="245" y="22"/>
                    <a:pt x="219" y="0"/>
                    <a:pt x="186" y="0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31">
              <a:extLst>
                <a:ext uri="{FF2B5EF4-FFF2-40B4-BE49-F238E27FC236}">
                  <a16:creationId xmlns="" xmlns:a16="http://schemas.microsoft.com/office/drawing/2014/main" id="{ED0FC39F-63A1-426D-AEEB-88452A9EA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600" y="5184776"/>
              <a:ext cx="166688" cy="103188"/>
            </a:xfrm>
            <a:custGeom>
              <a:avLst/>
              <a:gdLst>
                <a:gd name="T0" fmla="*/ 40 w 56"/>
                <a:gd name="T1" fmla="*/ 2 h 35"/>
                <a:gd name="T2" fmla="*/ 8 w 56"/>
                <a:gd name="T3" fmla="*/ 14 h 35"/>
                <a:gd name="T4" fmla="*/ 2 w 56"/>
                <a:gd name="T5" fmla="*/ 27 h 35"/>
                <a:gd name="T6" fmla="*/ 15 w 56"/>
                <a:gd name="T7" fmla="*/ 33 h 35"/>
                <a:gd name="T8" fmla="*/ 48 w 56"/>
                <a:gd name="T9" fmla="*/ 21 h 35"/>
                <a:gd name="T10" fmla="*/ 54 w 56"/>
                <a:gd name="T11" fmla="*/ 7 h 35"/>
                <a:gd name="T12" fmla="*/ 40 w 56"/>
                <a:gd name="T13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35">
                  <a:moveTo>
                    <a:pt x="40" y="2"/>
                  </a:moveTo>
                  <a:cubicBezTo>
                    <a:pt x="29" y="6"/>
                    <a:pt x="19" y="10"/>
                    <a:pt x="8" y="14"/>
                  </a:cubicBezTo>
                  <a:cubicBezTo>
                    <a:pt x="3" y="16"/>
                    <a:pt x="0" y="22"/>
                    <a:pt x="2" y="27"/>
                  </a:cubicBezTo>
                  <a:cubicBezTo>
                    <a:pt x="4" y="33"/>
                    <a:pt x="10" y="35"/>
                    <a:pt x="15" y="33"/>
                  </a:cubicBezTo>
                  <a:cubicBezTo>
                    <a:pt x="26" y="30"/>
                    <a:pt x="37" y="25"/>
                    <a:pt x="48" y="21"/>
                  </a:cubicBezTo>
                  <a:cubicBezTo>
                    <a:pt x="53" y="19"/>
                    <a:pt x="56" y="13"/>
                    <a:pt x="54" y="7"/>
                  </a:cubicBezTo>
                  <a:cubicBezTo>
                    <a:pt x="52" y="2"/>
                    <a:pt x="45" y="0"/>
                    <a:pt x="4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32">
              <a:extLst>
                <a:ext uri="{FF2B5EF4-FFF2-40B4-BE49-F238E27FC236}">
                  <a16:creationId xmlns="" xmlns:a16="http://schemas.microsoft.com/office/drawing/2014/main" id="{B41FC98C-3078-4362-944F-415A1B8638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08450" y="1309688"/>
              <a:ext cx="3297238" cy="4059238"/>
            </a:xfrm>
            <a:custGeom>
              <a:avLst/>
              <a:gdLst>
                <a:gd name="T0" fmla="*/ 1098 w 1104"/>
                <a:gd name="T1" fmla="*/ 21 h 1361"/>
                <a:gd name="T2" fmla="*/ 1087 w 1104"/>
                <a:gd name="T3" fmla="*/ 4 h 1361"/>
                <a:gd name="T4" fmla="*/ 1027 w 1104"/>
                <a:gd name="T5" fmla="*/ 54 h 1361"/>
                <a:gd name="T6" fmla="*/ 930 w 1104"/>
                <a:gd name="T7" fmla="*/ 133 h 1361"/>
                <a:gd name="T8" fmla="*/ 988 w 1104"/>
                <a:gd name="T9" fmla="*/ 80 h 1361"/>
                <a:gd name="T10" fmla="*/ 918 w 1104"/>
                <a:gd name="T11" fmla="*/ 116 h 1361"/>
                <a:gd name="T12" fmla="*/ 930 w 1104"/>
                <a:gd name="T13" fmla="*/ 133 h 1361"/>
                <a:gd name="T14" fmla="*/ 876 w 1104"/>
                <a:gd name="T15" fmla="*/ 172 h 1361"/>
                <a:gd name="T16" fmla="*/ 864 w 1104"/>
                <a:gd name="T17" fmla="*/ 156 h 1361"/>
                <a:gd name="T18" fmla="*/ 808 w 1104"/>
                <a:gd name="T19" fmla="*/ 211 h 1361"/>
                <a:gd name="T20" fmla="*/ 719 w 1104"/>
                <a:gd name="T21" fmla="*/ 297 h 1361"/>
                <a:gd name="T22" fmla="*/ 772 w 1104"/>
                <a:gd name="T23" fmla="*/ 240 h 1361"/>
                <a:gd name="T24" fmla="*/ 705 w 1104"/>
                <a:gd name="T25" fmla="*/ 281 h 1361"/>
                <a:gd name="T26" fmla="*/ 719 w 1104"/>
                <a:gd name="T27" fmla="*/ 297 h 1361"/>
                <a:gd name="T28" fmla="*/ 668 w 1104"/>
                <a:gd name="T29" fmla="*/ 340 h 1361"/>
                <a:gd name="T30" fmla="*/ 654 w 1104"/>
                <a:gd name="T31" fmla="*/ 325 h 1361"/>
                <a:gd name="T32" fmla="*/ 603 w 1104"/>
                <a:gd name="T33" fmla="*/ 384 h 1361"/>
                <a:gd name="T34" fmla="*/ 519 w 1104"/>
                <a:gd name="T35" fmla="*/ 476 h 1361"/>
                <a:gd name="T36" fmla="*/ 568 w 1104"/>
                <a:gd name="T37" fmla="*/ 430 h 1361"/>
                <a:gd name="T38" fmla="*/ 554 w 1104"/>
                <a:gd name="T39" fmla="*/ 415 h 1361"/>
                <a:gd name="T40" fmla="*/ 505 w 1104"/>
                <a:gd name="T41" fmla="*/ 461 h 1361"/>
                <a:gd name="T42" fmla="*/ 519 w 1104"/>
                <a:gd name="T43" fmla="*/ 476 h 1361"/>
                <a:gd name="T44" fmla="*/ 472 w 1104"/>
                <a:gd name="T45" fmla="*/ 523 h 1361"/>
                <a:gd name="T46" fmla="*/ 457 w 1104"/>
                <a:gd name="T47" fmla="*/ 509 h 1361"/>
                <a:gd name="T48" fmla="*/ 410 w 1104"/>
                <a:gd name="T49" fmla="*/ 572 h 1361"/>
                <a:gd name="T50" fmla="*/ 334 w 1104"/>
                <a:gd name="T51" fmla="*/ 670 h 1361"/>
                <a:gd name="T52" fmla="*/ 378 w 1104"/>
                <a:gd name="T53" fmla="*/ 606 h 1361"/>
                <a:gd name="T54" fmla="*/ 319 w 1104"/>
                <a:gd name="T55" fmla="*/ 656 h 1361"/>
                <a:gd name="T56" fmla="*/ 334 w 1104"/>
                <a:gd name="T57" fmla="*/ 670 h 1361"/>
                <a:gd name="T58" fmla="*/ 291 w 1104"/>
                <a:gd name="T59" fmla="*/ 721 h 1361"/>
                <a:gd name="T60" fmla="*/ 275 w 1104"/>
                <a:gd name="T61" fmla="*/ 708 h 1361"/>
                <a:gd name="T62" fmla="*/ 234 w 1104"/>
                <a:gd name="T63" fmla="*/ 775 h 1361"/>
                <a:gd name="T64" fmla="*/ 169 w 1104"/>
                <a:gd name="T65" fmla="*/ 881 h 1361"/>
                <a:gd name="T66" fmla="*/ 206 w 1104"/>
                <a:gd name="T67" fmla="*/ 812 h 1361"/>
                <a:gd name="T68" fmla="*/ 152 w 1104"/>
                <a:gd name="T69" fmla="*/ 869 h 1361"/>
                <a:gd name="T70" fmla="*/ 169 w 1104"/>
                <a:gd name="T71" fmla="*/ 881 h 1361"/>
                <a:gd name="T72" fmla="*/ 132 w 1104"/>
                <a:gd name="T73" fmla="*/ 936 h 1361"/>
                <a:gd name="T74" fmla="*/ 115 w 1104"/>
                <a:gd name="T75" fmla="*/ 925 h 1361"/>
                <a:gd name="T76" fmla="*/ 84 w 1104"/>
                <a:gd name="T77" fmla="*/ 998 h 1361"/>
                <a:gd name="T78" fmla="*/ 43 w 1104"/>
                <a:gd name="T79" fmla="*/ 1114 h 1361"/>
                <a:gd name="T80" fmla="*/ 63 w 1104"/>
                <a:gd name="T81" fmla="*/ 1039 h 1361"/>
                <a:gd name="T82" fmla="*/ 23 w 1104"/>
                <a:gd name="T83" fmla="*/ 1107 h 1361"/>
                <a:gd name="T84" fmla="*/ 43 w 1104"/>
                <a:gd name="T85" fmla="*/ 1114 h 1361"/>
                <a:gd name="T86" fmla="*/ 21 w 1104"/>
                <a:gd name="T87" fmla="*/ 1223 h 1361"/>
                <a:gd name="T88" fmla="*/ 17 w 1104"/>
                <a:gd name="T89" fmla="*/ 1165 h 1361"/>
                <a:gd name="T90" fmla="*/ 0 w 1104"/>
                <a:gd name="T91" fmla="*/ 1223 h 1361"/>
                <a:gd name="T92" fmla="*/ 12 w 1104"/>
                <a:gd name="T93" fmla="*/ 1252 h 1361"/>
                <a:gd name="T94" fmla="*/ 92 w 1104"/>
                <a:gd name="T95" fmla="*/ 1332 h 1361"/>
                <a:gd name="T96" fmla="*/ 42 w 1104"/>
                <a:gd name="T97" fmla="*/ 1298 h 1361"/>
                <a:gd name="T98" fmla="*/ 26 w 1104"/>
                <a:gd name="T99" fmla="*/ 1311 h 1361"/>
                <a:gd name="T100" fmla="*/ 85 w 1104"/>
                <a:gd name="T101" fmla="*/ 1352 h 1361"/>
                <a:gd name="T102" fmla="*/ 92 w 1104"/>
                <a:gd name="T103" fmla="*/ 1332 h 1361"/>
                <a:gd name="T104" fmla="*/ 155 w 1104"/>
                <a:gd name="T105" fmla="*/ 1340 h 1361"/>
                <a:gd name="T106" fmla="*/ 155 w 1104"/>
                <a:gd name="T107" fmla="*/ 1361 h 1361"/>
                <a:gd name="T108" fmla="*/ 231 w 1104"/>
                <a:gd name="T109" fmla="*/ 1339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4" h="1361">
                  <a:moveTo>
                    <a:pt x="1041" y="57"/>
                  </a:moveTo>
                  <a:cubicBezTo>
                    <a:pt x="1062" y="43"/>
                    <a:pt x="1081" y="31"/>
                    <a:pt x="1098" y="21"/>
                  </a:cubicBezTo>
                  <a:cubicBezTo>
                    <a:pt x="1102" y="18"/>
                    <a:pt x="1104" y="12"/>
                    <a:pt x="1101" y="7"/>
                  </a:cubicBezTo>
                  <a:cubicBezTo>
                    <a:pt x="1098" y="2"/>
                    <a:pt x="1092" y="0"/>
                    <a:pt x="1087" y="4"/>
                  </a:cubicBezTo>
                  <a:cubicBezTo>
                    <a:pt x="1070" y="14"/>
                    <a:pt x="1051" y="26"/>
                    <a:pt x="1030" y="40"/>
                  </a:cubicBezTo>
                  <a:cubicBezTo>
                    <a:pt x="1025" y="43"/>
                    <a:pt x="1024" y="49"/>
                    <a:pt x="1027" y="54"/>
                  </a:cubicBezTo>
                  <a:cubicBezTo>
                    <a:pt x="1030" y="59"/>
                    <a:pt x="1036" y="60"/>
                    <a:pt x="1041" y="57"/>
                  </a:cubicBezTo>
                  <a:close/>
                  <a:moveTo>
                    <a:pt x="930" y="133"/>
                  </a:moveTo>
                  <a:cubicBezTo>
                    <a:pt x="950" y="119"/>
                    <a:pt x="968" y="106"/>
                    <a:pt x="985" y="94"/>
                  </a:cubicBezTo>
                  <a:cubicBezTo>
                    <a:pt x="990" y="91"/>
                    <a:pt x="991" y="85"/>
                    <a:pt x="988" y="80"/>
                  </a:cubicBezTo>
                  <a:cubicBezTo>
                    <a:pt x="985" y="75"/>
                    <a:pt x="978" y="74"/>
                    <a:pt x="974" y="77"/>
                  </a:cubicBezTo>
                  <a:cubicBezTo>
                    <a:pt x="956" y="89"/>
                    <a:pt x="938" y="102"/>
                    <a:pt x="918" y="116"/>
                  </a:cubicBezTo>
                  <a:cubicBezTo>
                    <a:pt x="914" y="119"/>
                    <a:pt x="913" y="126"/>
                    <a:pt x="916" y="130"/>
                  </a:cubicBezTo>
                  <a:cubicBezTo>
                    <a:pt x="919" y="135"/>
                    <a:pt x="926" y="136"/>
                    <a:pt x="930" y="133"/>
                  </a:cubicBezTo>
                  <a:close/>
                  <a:moveTo>
                    <a:pt x="823" y="213"/>
                  </a:moveTo>
                  <a:cubicBezTo>
                    <a:pt x="841" y="199"/>
                    <a:pt x="859" y="185"/>
                    <a:pt x="876" y="172"/>
                  </a:cubicBezTo>
                  <a:cubicBezTo>
                    <a:pt x="881" y="169"/>
                    <a:pt x="882" y="162"/>
                    <a:pt x="878" y="158"/>
                  </a:cubicBezTo>
                  <a:cubicBezTo>
                    <a:pt x="875" y="153"/>
                    <a:pt x="869" y="152"/>
                    <a:pt x="864" y="156"/>
                  </a:cubicBezTo>
                  <a:cubicBezTo>
                    <a:pt x="847" y="169"/>
                    <a:pt x="829" y="182"/>
                    <a:pt x="810" y="196"/>
                  </a:cubicBezTo>
                  <a:cubicBezTo>
                    <a:pt x="806" y="200"/>
                    <a:pt x="805" y="207"/>
                    <a:pt x="808" y="211"/>
                  </a:cubicBezTo>
                  <a:cubicBezTo>
                    <a:pt x="812" y="216"/>
                    <a:pt x="818" y="216"/>
                    <a:pt x="823" y="213"/>
                  </a:cubicBezTo>
                  <a:close/>
                  <a:moveTo>
                    <a:pt x="719" y="297"/>
                  </a:moveTo>
                  <a:cubicBezTo>
                    <a:pt x="736" y="282"/>
                    <a:pt x="753" y="268"/>
                    <a:pt x="770" y="254"/>
                  </a:cubicBezTo>
                  <a:cubicBezTo>
                    <a:pt x="775" y="251"/>
                    <a:pt x="776" y="244"/>
                    <a:pt x="772" y="240"/>
                  </a:cubicBezTo>
                  <a:cubicBezTo>
                    <a:pt x="768" y="235"/>
                    <a:pt x="762" y="235"/>
                    <a:pt x="757" y="238"/>
                  </a:cubicBezTo>
                  <a:cubicBezTo>
                    <a:pt x="740" y="252"/>
                    <a:pt x="723" y="266"/>
                    <a:pt x="705" y="281"/>
                  </a:cubicBezTo>
                  <a:cubicBezTo>
                    <a:pt x="701" y="285"/>
                    <a:pt x="700" y="291"/>
                    <a:pt x="704" y="296"/>
                  </a:cubicBezTo>
                  <a:cubicBezTo>
                    <a:pt x="708" y="300"/>
                    <a:pt x="714" y="301"/>
                    <a:pt x="719" y="297"/>
                  </a:cubicBezTo>
                  <a:close/>
                  <a:moveTo>
                    <a:pt x="617" y="385"/>
                  </a:moveTo>
                  <a:cubicBezTo>
                    <a:pt x="634" y="370"/>
                    <a:pt x="651" y="355"/>
                    <a:pt x="668" y="340"/>
                  </a:cubicBezTo>
                  <a:cubicBezTo>
                    <a:pt x="672" y="337"/>
                    <a:pt x="672" y="330"/>
                    <a:pt x="669" y="326"/>
                  </a:cubicBezTo>
                  <a:cubicBezTo>
                    <a:pt x="665" y="322"/>
                    <a:pt x="658" y="321"/>
                    <a:pt x="654" y="325"/>
                  </a:cubicBezTo>
                  <a:cubicBezTo>
                    <a:pt x="637" y="339"/>
                    <a:pt x="621" y="354"/>
                    <a:pt x="603" y="369"/>
                  </a:cubicBezTo>
                  <a:cubicBezTo>
                    <a:pt x="599" y="373"/>
                    <a:pt x="599" y="380"/>
                    <a:pt x="603" y="384"/>
                  </a:cubicBezTo>
                  <a:cubicBezTo>
                    <a:pt x="607" y="388"/>
                    <a:pt x="613" y="389"/>
                    <a:pt x="617" y="385"/>
                  </a:cubicBezTo>
                  <a:close/>
                  <a:moveTo>
                    <a:pt x="519" y="476"/>
                  </a:moveTo>
                  <a:cubicBezTo>
                    <a:pt x="528" y="468"/>
                    <a:pt x="536" y="460"/>
                    <a:pt x="545" y="452"/>
                  </a:cubicBezTo>
                  <a:cubicBezTo>
                    <a:pt x="552" y="445"/>
                    <a:pt x="560" y="437"/>
                    <a:pt x="568" y="430"/>
                  </a:cubicBezTo>
                  <a:cubicBezTo>
                    <a:pt x="572" y="426"/>
                    <a:pt x="572" y="420"/>
                    <a:pt x="568" y="416"/>
                  </a:cubicBezTo>
                  <a:cubicBezTo>
                    <a:pt x="565" y="411"/>
                    <a:pt x="558" y="411"/>
                    <a:pt x="554" y="415"/>
                  </a:cubicBezTo>
                  <a:cubicBezTo>
                    <a:pt x="546" y="422"/>
                    <a:pt x="538" y="430"/>
                    <a:pt x="530" y="437"/>
                  </a:cubicBezTo>
                  <a:cubicBezTo>
                    <a:pt x="522" y="445"/>
                    <a:pt x="513" y="453"/>
                    <a:pt x="505" y="461"/>
                  </a:cubicBezTo>
                  <a:cubicBezTo>
                    <a:pt x="501" y="465"/>
                    <a:pt x="501" y="472"/>
                    <a:pt x="505" y="476"/>
                  </a:cubicBezTo>
                  <a:cubicBezTo>
                    <a:pt x="509" y="480"/>
                    <a:pt x="515" y="480"/>
                    <a:pt x="519" y="476"/>
                  </a:cubicBezTo>
                  <a:close/>
                  <a:moveTo>
                    <a:pt x="425" y="571"/>
                  </a:moveTo>
                  <a:cubicBezTo>
                    <a:pt x="440" y="555"/>
                    <a:pt x="456" y="539"/>
                    <a:pt x="472" y="523"/>
                  </a:cubicBezTo>
                  <a:cubicBezTo>
                    <a:pt x="476" y="519"/>
                    <a:pt x="476" y="513"/>
                    <a:pt x="472" y="509"/>
                  </a:cubicBezTo>
                  <a:cubicBezTo>
                    <a:pt x="468" y="505"/>
                    <a:pt x="461" y="505"/>
                    <a:pt x="457" y="509"/>
                  </a:cubicBezTo>
                  <a:cubicBezTo>
                    <a:pt x="441" y="525"/>
                    <a:pt x="425" y="541"/>
                    <a:pt x="410" y="557"/>
                  </a:cubicBezTo>
                  <a:cubicBezTo>
                    <a:pt x="406" y="561"/>
                    <a:pt x="406" y="568"/>
                    <a:pt x="410" y="572"/>
                  </a:cubicBezTo>
                  <a:cubicBezTo>
                    <a:pt x="414" y="576"/>
                    <a:pt x="421" y="575"/>
                    <a:pt x="425" y="571"/>
                  </a:cubicBezTo>
                  <a:close/>
                  <a:moveTo>
                    <a:pt x="334" y="670"/>
                  </a:moveTo>
                  <a:cubicBezTo>
                    <a:pt x="349" y="654"/>
                    <a:pt x="364" y="637"/>
                    <a:pt x="379" y="620"/>
                  </a:cubicBezTo>
                  <a:cubicBezTo>
                    <a:pt x="383" y="616"/>
                    <a:pt x="383" y="609"/>
                    <a:pt x="378" y="606"/>
                  </a:cubicBezTo>
                  <a:cubicBezTo>
                    <a:pt x="374" y="602"/>
                    <a:pt x="368" y="602"/>
                    <a:pt x="364" y="606"/>
                  </a:cubicBezTo>
                  <a:cubicBezTo>
                    <a:pt x="348" y="623"/>
                    <a:pt x="333" y="640"/>
                    <a:pt x="319" y="656"/>
                  </a:cubicBezTo>
                  <a:cubicBezTo>
                    <a:pt x="315" y="661"/>
                    <a:pt x="315" y="667"/>
                    <a:pt x="320" y="671"/>
                  </a:cubicBezTo>
                  <a:cubicBezTo>
                    <a:pt x="324" y="675"/>
                    <a:pt x="330" y="674"/>
                    <a:pt x="334" y="670"/>
                  </a:cubicBezTo>
                  <a:close/>
                  <a:moveTo>
                    <a:pt x="249" y="773"/>
                  </a:moveTo>
                  <a:cubicBezTo>
                    <a:pt x="262" y="756"/>
                    <a:pt x="276" y="739"/>
                    <a:pt x="291" y="721"/>
                  </a:cubicBezTo>
                  <a:cubicBezTo>
                    <a:pt x="294" y="717"/>
                    <a:pt x="294" y="710"/>
                    <a:pt x="289" y="706"/>
                  </a:cubicBezTo>
                  <a:cubicBezTo>
                    <a:pt x="285" y="703"/>
                    <a:pt x="278" y="703"/>
                    <a:pt x="275" y="708"/>
                  </a:cubicBezTo>
                  <a:cubicBezTo>
                    <a:pt x="260" y="725"/>
                    <a:pt x="246" y="743"/>
                    <a:pt x="232" y="760"/>
                  </a:cubicBezTo>
                  <a:cubicBezTo>
                    <a:pt x="229" y="765"/>
                    <a:pt x="229" y="771"/>
                    <a:pt x="234" y="775"/>
                  </a:cubicBezTo>
                  <a:cubicBezTo>
                    <a:pt x="238" y="778"/>
                    <a:pt x="245" y="778"/>
                    <a:pt x="249" y="773"/>
                  </a:cubicBezTo>
                  <a:close/>
                  <a:moveTo>
                    <a:pt x="169" y="881"/>
                  </a:moveTo>
                  <a:cubicBezTo>
                    <a:pt x="181" y="863"/>
                    <a:pt x="194" y="845"/>
                    <a:pt x="208" y="826"/>
                  </a:cubicBezTo>
                  <a:cubicBezTo>
                    <a:pt x="211" y="822"/>
                    <a:pt x="210" y="815"/>
                    <a:pt x="206" y="812"/>
                  </a:cubicBezTo>
                  <a:cubicBezTo>
                    <a:pt x="201" y="808"/>
                    <a:pt x="195" y="809"/>
                    <a:pt x="191" y="814"/>
                  </a:cubicBezTo>
                  <a:cubicBezTo>
                    <a:pt x="177" y="832"/>
                    <a:pt x="164" y="851"/>
                    <a:pt x="152" y="869"/>
                  </a:cubicBezTo>
                  <a:cubicBezTo>
                    <a:pt x="149" y="874"/>
                    <a:pt x="150" y="880"/>
                    <a:pt x="155" y="883"/>
                  </a:cubicBezTo>
                  <a:cubicBezTo>
                    <a:pt x="159" y="886"/>
                    <a:pt x="166" y="885"/>
                    <a:pt x="169" y="881"/>
                  </a:cubicBezTo>
                  <a:close/>
                  <a:moveTo>
                    <a:pt x="98" y="994"/>
                  </a:moveTo>
                  <a:cubicBezTo>
                    <a:pt x="109" y="975"/>
                    <a:pt x="120" y="956"/>
                    <a:pt x="132" y="936"/>
                  </a:cubicBezTo>
                  <a:cubicBezTo>
                    <a:pt x="135" y="932"/>
                    <a:pt x="134" y="925"/>
                    <a:pt x="129" y="922"/>
                  </a:cubicBezTo>
                  <a:cubicBezTo>
                    <a:pt x="124" y="919"/>
                    <a:pt x="118" y="921"/>
                    <a:pt x="115" y="925"/>
                  </a:cubicBezTo>
                  <a:cubicBezTo>
                    <a:pt x="102" y="945"/>
                    <a:pt x="91" y="965"/>
                    <a:pt x="80" y="984"/>
                  </a:cubicBezTo>
                  <a:cubicBezTo>
                    <a:pt x="78" y="989"/>
                    <a:pt x="79" y="995"/>
                    <a:pt x="84" y="998"/>
                  </a:cubicBezTo>
                  <a:cubicBezTo>
                    <a:pt x="89" y="1001"/>
                    <a:pt x="96" y="999"/>
                    <a:pt x="98" y="994"/>
                  </a:cubicBezTo>
                  <a:close/>
                  <a:moveTo>
                    <a:pt x="43" y="1114"/>
                  </a:moveTo>
                  <a:cubicBezTo>
                    <a:pt x="50" y="1095"/>
                    <a:pt x="58" y="1074"/>
                    <a:pt x="68" y="1053"/>
                  </a:cubicBezTo>
                  <a:cubicBezTo>
                    <a:pt x="70" y="1048"/>
                    <a:pt x="68" y="1042"/>
                    <a:pt x="63" y="1039"/>
                  </a:cubicBezTo>
                  <a:cubicBezTo>
                    <a:pt x="58" y="1037"/>
                    <a:pt x="52" y="1039"/>
                    <a:pt x="49" y="1044"/>
                  </a:cubicBezTo>
                  <a:cubicBezTo>
                    <a:pt x="39" y="1066"/>
                    <a:pt x="30" y="1087"/>
                    <a:pt x="23" y="1107"/>
                  </a:cubicBezTo>
                  <a:cubicBezTo>
                    <a:pt x="21" y="1113"/>
                    <a:pt x="24" y="1118"/>
                    <a:pt x="29" y="1120"/>
                  </a:cubicBezTo>
                  <a:cubicBezTo>
                    <a:pt x="35" y="1122"/>
                    <a:pt x="41" y="1119"/>
                    <a:pt x="43" y="1114"/>
                  </a:cubicBezTo>
                  <a:close/>
                  <a:moveTo>
                    <a:pt x="21" y="1241"/>
                  </a:moveTo>
                  <a:cubicBezTo>
                    <a:pt x="21" y="1235"/>
                    <a:pt x="21" y="1229"/>
                    <a:pt x="21" y="1223"/>
                  </a:cubicBezTo>
                  <a:cubicBezTo>
                    <a:pt x="21" y="1209"/>
                    <a:pt x="22" y="1194"/>
                    <a:pt x="25" y="1177"/>
                  </a:cubicBezTo>
                  <a:cubicBezTo>
                    <a:pt x="26" y="1172"/>
                    <a:pt x="23" y="1166"/>
                    <a:pt x="17" y="1165"/>
                  </a:cubicBezTo>
                  <a:cubicBezTo>
                    <a:pt x="11" y="1164"/>
                    <a:pt x="6" y="1168"/>
                    <a:pt x="5" y="1173"/>
                  </a:cubicBezTo>
                  <a:cubicBezTo>
                    <a:pt x="2" y="1191"/>
                    <a:pt x="0" y="1208"/>
                    <a:pt x="0" y="1223"/>
                  </a:cubicBezTo>
                  <a:cubicBezTo>
                    <a:pt x="0" y="1230"/>
                    <a:pt x="0" y="1237"/>
                    <a:pt x="1" y="1243"/>
                  </a:cubicBezTo>
                  <a:cubicBezTo>
                    <a:pt x="1" y="1249"/>
                    <a:pt x="7" y="1253"/>
                    <a:pt x="12" y="1252"/>
                  </a:cubicBezTo>
                  <a:cubicBezTo>
                    <a:pt x="18" y="1252"/>
                    <a:pt x="22" y="1247"/>
                    <a:pt x="21" y="1241"/>
                  </a:cubicBezTo>
                  <a:close/>
                  <a:moveTo>
                    <a:pt x="92" y="1332"/>
                  </a:moveTo>
                  <a:cubicBezTo>
                    <a:pt x="75" y="1327"/>
                    <a:pt x="61" y="1318"/>
                    <a:pt x="49" y="1306"/>
                  </a:cubicBezTo>
                  <a:cubicBezTo>
                    <a:pt x="47" y="1303"/>
                    <a:pt x="44" y="1301"/>
                    <a:pt x="42" y="1298"/>
                  </a:cubicBezTo>
                  <a:cubicBezTo>
                    <a:pt x="39" y="1294"/>
                    <a:pt x="32" y="1293"/>
                    <a:pt x="28" y="1296"/>
                  </a:cubicBezTo>
                  <a:cubicBezTo>
                    <a:pt x="23" y="1300"/>
                    <a:pt x="22" y="1306"/>
                    <a:pt x="26" y="1311"/>
                  </a:cubicBezTo>
                  <a:cubicBezTo>
                    <a:pt x="28" y="1314"/>
                    <a:pt x="31" y="1317"/>
                    <a:pt x="34" y="1320"/>
                  </a:cubicBezTo>
                  <a:cubicBezTo>
                    <a:pt x="48" y="1335"/>
                    <a:pt x="65" y="1345"/>
                    <a:pt x="85" y="1352"/>
                  </a:cubicBezTo>
                  <a:cubicBezTo>
                    <a:pt x="91" y="1354"/>
                    <a:pt x="97" y="1351"/>
                    <a:pt x="98" y="1345"/>
                  </a:cubicBezTo>
                  <a:cubicBezTo>
                    <a:pt x="100" y="1340"/>
                    <a:pt x="97" y="1334"/>
                    <a:pt x="92" y="1332"/>
                  </a:cubicBezTo>
                  <a:close/>
                  <a:moveTo>
                    <a:pt x="219" y="1332"/>
                  </a:moveTo>
                  <a:cubicBezTo>
                    <a:pt x="196" y="1337"/>
                    <a:pt x="174" y="1340"/>
                    <a:pt x="155" y="1340"/>
                  </a:cubicBezTo>
                  <a:cubicBezTo>
                    <a:pt x="149" y="1341"/>
                    <a:pt x="144" y="1345"/>
                    <a:pt x="144" y="1351"/>
                  </a:cubicBezTo>
                  <a:cubicBezTo>
                    <a:pt x="145" y="1357"/>
                    <a:pt x="149" y="1361"/>
                    <a:pt x="155" y="1361"/>
                  </a:cubicBezTo>
                  <a:cubicBezTo>
                    <a:pt x="176" y="1360"/>
                    <a:pt x="199" y="1357"/>
                    <a:pt x="224" y="1352"/>
                  </a:cubicBezTo>
                  <a:cubicBezTo>
                    <a:pt x="229" y="1350"/>
                    <a:pt x="233" y="1345"/>
                    <a:pt x="231" y="1339"/>
                  </a:cubicBezTo>
                  <a:cubicBezTo>
                    <a:pt x="230" y="1334"/>
                    <a:pt x="225" y="1330"/>
                    <a:pt x="219" y="13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3">
              <a:extLst>
                <a:ext uri="{FF2B5EF4-FFF2-40B4-BE49-F238E27FC236}">
                  <a16:creationId xmlns="" xmlns:a16="http://schemas.microsoft.com/office/drawing/2014/main" id="{7E7A6CA2-FEAB-406D-A990-4DDEDEE3B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288" y="1157288"/>
              <a:ext cx="160338" cy="122238"/>
            </a:xfrm>
            <a:custGeom>
              <a:avLst/>
              <a:gdLst>
                <a:gd name="T0" fmla="*/ 17 w 54"/>
                <a:gd name="T1" fmla="*/ 38 h 41"/>
                <a:gd name="T2" fmla="*/ 39 w 54"/>
                <a:gd name="T3" fmla="*/ 25 h 41"/>
                <a:gd name="T4" fmla="*/ 45 w 54"/>
                <a:gd name="T5" fmla="*/ 22 h 41"/>
                <a:gd name="T6" fmla="*/ 46 w 54"/>
                <a:gd name="T7" fmla="*/ 22 h 41"/>
                <a:gd name="T8" fmla="*/ 47 w 54"/>
                <a:gd name="T9" fmla="*/ 21 h 41"/>
                <a:gd name="T10" fmla="*/ 51 w 54"/>
                <a:gd name="T11" fmla="*/ 7 h 41"/>
                <a:gd name="T12" fmla="*/ 37 w 54"/>
                <a:gd name="T13" fmla="*/ 3 h 41"/>
                <a:gd name="T14" fmla="*/ 7 w 54"/>
                <a:gd name="T15" fmla="*/ 20 h 41"/>
                <a:gd name="T16" fmla="*/ 3 w 54"/>
                <a:gd name="T17" fmla="*/ 34 h 41"/>
                <a:gd name="T18" fmla="*/ 17 w 54"/>
                <a:gd name="T19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41">
                  <a:moveTo>
                    <a:pt x="17" y="38"/>
                  </a:moveTo>
                  <a:cubicBezTo>
                    <a:pt x="27" y="32"/>
                    <a:pt x="34" y="28"/>
                    <a:pt x="39" y="25"/>
                  </a:cubicBezTo>
                  <a:cubicBezTo>
                    <a:pt x="42" y="24"/>
                    <a:pt x="44" y="23"/>
                    <a:pt x="45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52" y="19"/>
                    <a:pt x="54" y="12"/>
                    <a:pt x="51" y="7"/>
                  </a:cubicBezTo>
                  <a:cubicBezTo>
                    <a:pt x="49" y="2"/>
                    <a:pt x="42" y="0"/>
                    <a:pt x="37" y="3"/>
                  </a:cubicBezTo>
                  <a:cubicBezTo>
                    <a:pt x="37" y="3"/>
                    <a:pt x="26" y="9"/>
                    <a:pt x="7" y="20"/>
                  </a:cubicBezTo>
                  <a:cubicBezTo>
                    <a:pt x="2" y="23"/>
                    <a:pt x="0" y="29"/>
                    <a:pt x="3" y="34"/>
                  </a:cubicBezTo>
                  <a:cubicBezTo>
                    <a:pt x="6" y="39"/>
                    <a:pt x="12" y="41"/>
                    <a:pt x="17" y="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0" name="Group 329">
            <a:extLst>
              <a:ext uri="{FF2B5EF4-FFF2-40B4-BE49-F238E27FC236}">
                <a16:creationId xmlns="" xmlns:a16="http://schemas.microsoft.com/office/drawing/2014/main" id="{98C82C47-847A-48E0-A010-BBB3742BE36D}"/>
              </a:ext>
            </a:extLst>
          </p:cNvPr>
          <p:cNvGrpSpPr/>
          <p:nvPr/>
        </p:nvGrpSpPr>
        <p:grpSpPr>
          <a:xfrm>
            <a:off x="544127" y="466977"/>
            <a:ext cx="11103746" cy="5924047"/>
            <a:chOff x="544127" y="282919"/>
            <a:chExt cx="11103746" cy="5924047"/>
          </a:xfrm>
          <a:solidFill>
            <a:schemeClr val="accent3">
              <a:lumMod val="40000"/>
              <a:lumOff val="60000"/>
            </a:schemeClr>
          </a:solidFill>
        </p:grpSpPr>
        <p:grpSp>
          <p:nvGrpSpPr>
            <p:cNvPr id="331" name="Group 330">
              <a:extLst>
                <a:ext uri="{FF2B5EF4-FFF2-40B4-BE49-F238E27FC236}">
                  <a16:creationId xmlns="" xmlns:a16="http://schemas.microsoft.com/office/drawing/2014/main" id="{7EEC2A24-3F09-4001-A666-A9772E7E0BD4}"/>
                </a:ext>
              </a:extLst>
            </p:cNvPr>
            <p:cNvGrpSpPr/>
            <p:nvPr/>
          </p:nvGrpSpPr>
          <p:grpSpPr>
            <a:xfrm>
              <a:off x="544127" y="282919"/>
              <a:ext cx="11103746" cy="1914300"/>
              <a:chOff x="814298" y="3025483"/>
              <a:chExt cx="11103746" cy="1914300"/>
            </a:xfrm>
            <a:grpFill/>
          </p:grpSpPr>
          <p:sp>
            <p:nvSpPr>
              <p:cNvPr id="378" name="Oval 58">
                <a:extLst>
                  <a:ext uri="{FF2B5EF4-FFF2-40B4-BE49-F238E27FC236}">
                    <a16:creationId xmlns="" xmlns:a16="http://schemas.microsoft.com/office/drawing/2014/main" id="{3E5FE7ED-2D0A-4A7F-98FF-74D607303B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428" y="4608849"/>
                <a:ext cx="72644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Oval 59">
                <a:extLst>
                  <a:ext uri="{FF2B5EF4-FFF2-40B4-BE49-F238E27FC236}">
                    <a16:creationId xmlns="" xmlns:a16="http://schemas.microsoft.com/office/drawing/2014/main" id="{744C72AB-A2A8-46BD-8DF8-F530C90D9D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0332" y="4828126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Oval 60">
                <a:extLst>
                  <a:ext uri="{FF2B5EF4-FFF2-40B4-BE49-F238E27FC236}">
                    <a16:creationId xmlns="" xmlns:a16="http://schemas.microsoft.com/office/drawing/2014/main" id="{8E24C8C0-747C-49CE-82D0-3400BF0E39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5075" y="3921423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Oval 61">
                <a:extLst>
                  <a:ext uri="{FF2B5EF4-FFF2-40B4-BE49-F238E27FC236}">
                    <a16:creationId xmlns="" xmlns:a16="http://schemas.microsoft.com/office/drawing/2014/main" id="{05F7E92D-D2A7-437B-9B85-952E9F4875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4298" y="4182814"/>
                <a:ext cx="72644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Oval 62">
                <a:extLst>
                  <a:ext uri="{FF2B5EF4-FFF2-40B4-BE49-F238E27FC236}">
                    <a16:creationId xmlns="" xmlns:a16="http://schemas.microsoft.com/office/drawing/2014/main" id="{F51651E9-147E-40F1-A229-CE7E96EF0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9695" y="4214689"/>
                <a:ext cx="7533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Oval 63">
                <a:extLst>
                  <a:ext uri="{FF2B5EF4-FFF2-40B4-BE49-F238E27FC236}">
                    <a16:creationId xmlns="" xmlns:a16="http://schemas.microsoft.com/office/drawing/2014/main" id="{FBD752F6-F217-41B5-9A27-CF55396735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7805" y="4007520"/>
                <a:ext cx="76680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Oval 64">
                <a:extLst>
                  <a:ext uri="{FF2B5EF4-FFF2-40B4-BE49-F238E27FC236}">
                    <a16:creationId xmlns="" xmlns:a16="http://schemas.microsoft.com/office/drawing/2014/main" id="{8D704A7F-51AA-40C6-8A0B-9AA8FAFE47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4694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Oval 65">
                <a:extLst>
                  <a:ext uri="{FF2B5EF4-FFF2-40B4-BE49-F238E27FC236}">
                    <a16:creationId xmlns="" xmlns:a16="http://schemas.microsoft.com/office/drawing/2014/main" id="{BCD21634-A69F-49AA-9399-BA065E5938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515" y="339677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Oval 66">
                <a:extLst>
                  <a:ext uri="{FF2B5EF4-FFF2-40B4-BE49-F238E27FC236}">
                    <a16:creationId xmlns="" xmlns:a16="http://schemas.microsoft.com/office/drawing/2014/main" id="{8EAA5FE1-B5BA-4CFE-AA2A-275505C7B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9835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Oval 67">
                <a:extLst>
                  <a:ext uri="{FF2B5EF4-FFF2-40B4-BE49-F238E27FC236}">
                    <a16:creationId xmlns="" xmlns:a16="http://schemas.microsoft.com/office/drawing/2014/main" id="{A560E825-E45B-48E8-9F9E-BF18D55BF4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9625" y="4272535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Oval 68">
                <a:extLst>
                  <a:ext uri="{FF2B5EF4-FFF2-40B4-BE49-F238E27FC236}">
                    <a16:creationId xmlns="" xmlns:a16="http://schemas.microsoft.com/office/drawing/2014/main" id="{62440F27-51FC-49D3-BE7C-F7A4A0E8B9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64818" y="381649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Oval 69">
                <a:extLst>
                  <a:ext uri="{FF2B5EF4-FFF2-40B4-BE49-F238E27FC236}">
                    <a16:creationId xmlns="" xmlns:a16="http://schemas.microsoft.com/office/drawing/2014/main" id="{870ABFA1-788C-459E-9971-738B113625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45400" y="421468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Oval 70">
                <a:extLst>
                  <a:ext uri="{FF2B5EF4-FFF2-40B4-BE49-F238E27FC236}">
                    <a16:creationId xmlns="" xmlns:a16="http://schemas.microsoft.com/office/drawing/2014/main" id="{A6BBB49C-4491-4A42-90F9-452BEFEFE9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2967" y="3603943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Oval 71">
                <a:extLst>
                  <a:ext uri="{FF2B5EF4-FFF2-40B4-BE49-F238E27FC236}">
                    <a16:creationId xmlns="" xmlns:a16="http://schemas.microsoft.com/office/drawing/2014/main" id="{3BD19E50-7380-4D0D-BE6D-484D5C7F5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7618" y="486713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Oval 72">
                <a:extLst>
                  <a:ext uri="{FF2B5EF4-FFF2-40B4-BE49-F238E27FC236}">
                    <a16:creationId xmlns="" xmlns:a16="http://schemas.microsoft.com/office/drawing/2014/main" id="{485AAC05-6BD8-47D3-8EE4-635905B464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6685" y="464382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Oval 73">
                <a:extLst>
                  <a:ext uri="{FF2B5EF4-FFF2-40B4-BE49-F238E27FC236}">
                    <a16:creationId xmlns="" xmlns:a16="http://schemas.microsoft.com/office/drawing/2014/main" id="{1C48824A-CBDD-4BC7-B0F5-9B60C9714F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808" y="3025483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Oval 74">
                <a:extLst>
                  <a:ext uri="{FF2B5EF4-FFF2-40B4-BE49-F238E27FC236}">
                    <a16:creationId xmlns="" xmlns:a16="http://schemas.microsoft.com/office/drawing/2014/main" id="{31FE5F08-2A6E-49DB-B928-F81ED17FC2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7338" y="3531299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Oval 75">
                <a:extLst>
                  <a:ext uri="{FF2B5EF4-FFF2-40B4-BE49-F238E27FC236}">
                    <a16:creationId xmlns="" xmlns:a16="http://schemas.microsoft.com/office/drawing/2014/main" id="{8DD72AA3-7614-47A4-9664-52AE8F50C4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5425" y="4214689"/>
                <a:ext cx="76680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Oval 76">
                <a:extLst>
                  <a:ext uri="{FF2B5EF4-FFF2-40B4-BE49-F238E27FC236}">
                    <a16:creationId xmlns="" xmlns:a16="http://schemas.microsoft.com/office/drawing/2014/main" id="{E01E7CDF-D28C-41B2-A70D-3E9220A6A1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49444" y="3846089"/>
                <a:ext cx="73989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Oval 77">
                <a:extLst>
                  <a:ext uri="{FF2B5EF4-FFF2-40B4-BE49-F238E27FC236}">
                    <a16:creationId xmlns="" xmlns:a16="http://schemas.microsoft.com/office/drawing/2014/main" id="{9434C99C-3FCD-4199-8A65-DB0DA11B6C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8807" y="4421859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Oval 78">
                <a:extLst>
                  <a:ext uri="{FF2B5EF4-FFF2-40B4-BE49-F238E27FC236}">
                    <a16:creationId xmlns="" xmlns:a16="http://schemas.microsoft.com/office/drawing/2014/main" id="{984204A5-ACB8-447D-ADE6-2BD28ABB89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2244" y="411917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Oval 79">
                <a:extLst>
                  <a:ext uri="{FF2B5EF4-FFF2-40B4-BE49-F238E27FC236}">
                    <a16:creationId xmlns="" xmlns:a16="http://schemas.microsoft.com/office/drawing/2014/main" id="{A42F464F-EDEC-4DE3-99A8-5C4AF9C1E9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0191" y="3883756"/>
                <a:ext cx="73989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2" name="Group 331">
              <a:extLst>
                <a:ext uri="{FF2B5EF4-FFF2-40B4-BE49-F238E27FC236}">
                  <a16:creationId xmlns="" xmlns:a16="http://schemas.microsoft.com/office/drawing/2014/main" id="{D5FF0F4C-CEA0-48A1-8B0A-5481059ECA39}"/>
                </a:ext>
              </a:extLst>
            </p:cNvPr>
            <p:cNvGrpSpPr/>
            <p:nvPr/>
          </p:nvGrpSpPr>
          <p:grpSpPr>
            <a:xfrm>
              <a:off x="544127" y="2287792"/>
              <a:ext cx="11103746" cy="1914300"/>
              <a:chOff x="814298" y="3025483"/>
              <a:chExt cx="11103746" cy="1914300"/>
            </a:xfrm>
            <a:grpFill/>
          </p:grpSpPr>
          <p:sp>
            <p:nvSpPr>
              <p:cNvPr id="356" name="Oval 58">
                <a:extLst>
                  <a:ext uri="{FF2B5EF4-FFF2-40B4-BE49-F238E27FC236}">
                    <a16:creationId xmlns="" xmlns:a16="http://schemas.microsoft.com/office/drawing/2014/main" id="{37B2A23C-7E4A-4262-B527-D8A6BF4EB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428" y="4608849"/>
                <a:ext cx="72644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Oval 59">
                <a:extLst>
                  <a:ext uri="{FF2B5EF4-FFF2-40B4-BE49-F238E27FC236}">
                    <a16:creationId xmlns="" xmlns:a16="http://schemas.microsoft.com/office/drawing/2014/main" id="{B2F5631A-CB41-49C4-B3A9-1AE10800FE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0332" y="4828126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Oval 60">
                <a:extLst>
                  <a:ext uri="{FF2B5EF4-FFF2-40B4-BE49-F238E27FC236}">
                    <a16:creationId xmlns="" xmlns:a16="http://schemas.microsoft.com/office/drawing/2014/main" id="{A2F59B61-7194-4CFA-81EB-50CF98E8F6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5075" y="3921423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Oval 61">
                <a:extLst>
                  <a:ext uri="{FF2B5EF4-FFF2-40B4-BE49-F238E27FC236}">
                    <a16:creationId xmlns="" xmlns:a16="http://schemas.microsoft.com/office/drawing/2014/main" id="{1B522CB5-90C1-472F-B265-EB555DADD5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4298" y="4182814"/>
                <a:ext cx="72644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Oval 62">
                <a:extLst>
                  <a:ext uri="{FF2B5EF4-FFF2-40B4-BE49-F238E27FC236}">
                    <a16:creationId xmlns="" xmlns:a16="http://schemas.microsoft.com/office/drawing/2014/main" id="{39C59ECB-D905-48D2-8E6D-88D2262FDB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9695" y="4214689"/>
                <a:ext cx="7533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Oval 63">
                <a:extLst>
                  <a:ext uri="{FF2B5EF4-FFF2-40B4-BE49-F238E27FC236}">
                    <a16:creationId xmlns="" xmlns:a16="http://schemas.microsoft.com/office/drawing/2014/main" id="{E676246A-E668-4974-A5EB-8E11B3DED4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7805" y="4007520"/>
                <a:ext cx="76680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Oval 64">
                <a:extLst>
                  <a:ext uri="{FF2B5EF4-FFF2-40B4-BE49-F238E27FC236}">
                    <a16:creationId xmlns="" xmlns:a16="http://schemas.microsoft.com/office/drawing/2014/main" id="{CECAC02B-7269-41BE-AAB4-088B176778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4694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Oval 65">
                <a:extLst>
                  <a:ext uri="{FF2B5EF4-FFF2-40B4-BE49-F238E27FC236}">
                    <a16:creationId xmlns="" xmlns:a16="http://schemas.microsoft.com/office/drawing/2014/main" id="{86B2358A-2DDD-4D7C-B31A-43DA576C33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515" y="339677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Oval 66">
                <a:extLst>
                  <a:ext uri="{FF2B5EF4-FFF2-40B4-BE49-F238E27FC236}">
                    <a16:creationId xmlns="" xmlns:a16="http://schemas.microsoft.com/office/drawing/2014/main" id="{7CCC3DCD-DD99-42ED-B564-7CC3F31282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9835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Oval 67">
                <a:extLst>
                  <a:ext uri="{FF2B5EF4-FFF2-40B4-BE49-F238E27FC236}">
                    <a16:creationId xmlns="" xmlns:a16="http://schemas.microsoft.com/office/drawing/2014/main" id="{BD8D65EF-E7DE-4BDF-972B-11A5AD2642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9625" y="4272535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Oval 68">
                <a:extLst>
                  <a:ext uri="{FF2B5EF4-FFF2-40B4-BE49-F238E27FC236}">
                    <a16:creationId xmlns="" xmlns:a16="http://schemas.microsoft.com/office/drawing/2014/main" id="{E90DC25C-9758-4881-8F17-EA9708BCAB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64818" y="381649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Oval 69">
                <a:extLst>
                  <a:ext uri="{FF2B5EF4-FFF2-40B4-BE49-F238E27FC236}">
                    <a16:creationId xmlns="" xmlns:a16="http://schemas.microsoft.com/office/drawing/2014/main" id="{4DF7B717-E287-49F5-8EDC-270547E02B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45400" y="421468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Oval 70">
                <a:extLst>
                  <a:ext uri="{FF2B5EF4-FFF2-40B4-BE49-F238E27FC236}">
                    <a16:creationId xmlns="" xmlns:a16="http://schemas.microsoft.com/office/drawing/2014/main" id="{782B3D62-6A98-4FDC-A951-24BC8D5D24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2967" y="3603943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Oval 71">
                <a:extLst>
                  <a:ext uri="{FF2B5EF4-FFF2-40B4-BE49-F238E27FC236}">
                    <a16:creationId xmlns="" xmlns:a16="http://schemas.microsoft.com/office/drawing/2014/main" id="{14AAE281-8E49-4F21-BA52-14DD352543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7618" y="486713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Oval 72">
                <a:extLst>
                  <a:ext uri="{FF2B5EF4-FFF2-40B4-BE49-F238E27FC236}">
                    <a16:creationId xmlns="" xmlns:a16="http://schemas.microsoft.com/office/drawing/2014/main" id="{3F39DB63-35A7-4669-9809-CD46D79E3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6685" y="464382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Oval 73">
                <a:extLst>
                  <a:ext uri="{FF2B5EF4-FFF2-40B4-BE49-F238E27FC236}">
                    <a16:creationId xmlns="" xmlns:a16="http://schemas.microsoft.com/office/drawing/2014/main" id="{5B1EC70C-BFFC-4345-8128-451B49688A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808" y="3025483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Oval 74">
                <a:extLst>
                  <a:ext uri="{FF2B5EF4-FFF2-40B4-BE49-F238E27FC236}">
                    <a16:creationId xmlns="" xmlns:a16="http://schemas.microsoft.com/office/drawing/2014/main" id="{863F97EB-EED4-42D8-AC70-17BF4EB6E3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7338" y="3531299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Oval 75">
                <a:extLst>
                  <a:ext uri="{FF2B5EF4-FFF2-40B4-BE49-F238E27FC236}">
                    <a16:creationId xmlns="" xmlns:a16="http://schemas.microsoft.com/office/drawing/2014/main" id="{4A3C4F72-C1F5-4371-B1E8-4059DC656E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5425" y="4214689"/>
                <a:ext cx="76680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Oval 76">
                <a:extLst>
                  <a:ext uri="{FF2B5EF4-FFF2-40B4-BE49-F238E27FC236}">
                    <a16:creationId xmlns="" xmlns:a16="http://schemas.microsoft.com/office/drawing/2014/main" id="{C42B89DB-D5D5-4720-BF71-FBC9C1DFE4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49444" y="3846089"/>
                <a:ext cx="73989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Oval 77">
                <a:extLst>
                  <a:ext uri="{FF2B5EF4-FFF2-40B4-BE49-F238E27FC236}">
                    <a16:creationId xmlns="" xmlns:a16="http://schemas.microsoft.com/office/drawing/2014/main" id="{043B4D3F-BF3C-43A1-914C-9E5C559592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8807" y="4421859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Oval 78">
                <a:extLst>
                  <a:ext uri="{FF2B5EF4-FFF2-40B4-BE49-F238E27FC236}">
                    <a16:creationId xmlns="" xmlns:a16="http://schemas.microsoft.com/office/drawing/2014/main" id="{FDF582B5-EB22-4091-9DEE-B38BC0DD55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2244" y="411917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Oval 79">
                <a:extLst>
                  <a:ext uri="{FF2B5EF4-FFF2-40B4-BE49-F238E27FC236}">
                    <a16:creationId xmlns="" xmlns:a16="http://schemas.microsoft.com/office/drawing/2014/main" id="{CC0D233D-178E-4379-A17E-C0E7E1A34C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0191" y="3883756"/>
                <a:ext cx="73989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3" name="Group 332">
              <a:extLst>
                <a:ext uri="{FF2B5EF4-FFF2-40B4-BE49-F238E27FC236}">
                  <a16:creationId xmlns="" xmlns:a16="http://schemas.microsoft.com/office/drawing/2014/main" id="{46AE09A3-79A3-4CF4-96F5-0BC3B898E98C}"/>
                </a:ext>
              </a:extLst>
            </p:cNvPr>
            <p:cNvGrpSpPr/>
            <p:nvPr/>
          </p:nvGrpSpPr>
          <p:grpSpPr>
            <a:xfrm>
              <a:off x="544127" y="4292666"/>
              <a:ext cx="11103746" cy="1914300"/>
              <a:chOff x="814298" y="3025483"/>
              <a:chExt cx="11103746" cy="1914300"/>
            </a:xfrm>
            <a:grpFill/>
          </p:grpSpPr>
          <p:sp>
            <p:nvSpPr>
              <p:cNvPr id="334" name="Oval 58">
                <a:extLst>
                  <a:ext uri="{FF2B5EF4-FFF2-40B4-BE49-F238E27FC236}">
                    <a16:creationId xmlns="" xmlns:a16="http://schemas.microsoft.com/office/drawing/2014/main" id="{6ED4D78A-E4AE-4A2A-AA07-D2A83480F0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428" y="4608849"/>
                <a:ext cx="72644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Oval 59">
                <a:extLst>
                  <a:ext uri="{FF2B5EF4-FFF2-40B4-BE49-F238E27FC236}">
                    <a16:creationId xmlns="" xmlns:a16="http://schemas.microsoft.com/office/drawing/2014/main" id="{8C1B7A8E-E8D3-4F41-9A0A-5235A112E3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0332" y="4828126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Oval 60">
                <a:extLst>
                  <a:ext uri="{FF2B5EF4-FFF2-40B4-BE49-F238E27FC236}">
                    <a16:creationId xmlns="" xmlns:a16="http://schemas.microsoft.com/office/drawing/2014/main" id="{BDD10440-AC78-4D29-8CC2-82912F3DDB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5075" y="3921423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Oval 61">
                <a:extLst>
                  <a:ext uri="{FF2B5EF4-FFF2-40B4-BE49-F238E27FC236}">
                    <a16:creationId xmlns="" xmlns:a16="http://schemas.microsoft.com/office/drawing/2014/main" id="{EE46E904-CC5B-4696-B8E6-0E63DBE045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4298" y="4182814"/>
                <a:ext cx="72644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Oval 62">
                <a:extLst>
                  <a:ext uri="{FF2B5EF4-FFF2-40B4-BE49-F238E27FC236}">
                    <a16:creationId xmlns="" xmlns:a16="http://schemas.microsoft.com/office/drawing/2014/main" id="{28D2ADBB-7AC7-4248-B1F4-3056622FA3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9695" y="4214689"/>
                <a:ext cx="7533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Oval 63">
                <a:extLst>
                  <a:ext uri="{FF2B5EF4-FFF2-40B4-BE49-F238E27FC236}">
                    <a16:creationId xmlns="" xmlns:a16="http://schemas.microsoft.com/office/drawing/2014/main" id="{F8DC5BBE-8A4B-414E-88BB-EB8AC4A13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7805" y="4007520"/>
                <a:ext cx="76680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Oval 64">
                <a:extLst>
                  <a:ext uri="{FF2B5EF4-FFF2-40B4-BE49-F238E27FC236}">
                    <a16:creationId xmlns="" xmlns:a16="http://schemas.microsoft.com/office/drawing/2014/main" id="{1F0EE553-F03F-4B9B-91BC-D0B28B772B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4694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Oval 65">
                <a:extLst>
                  <a:ext uri="{FF2B5EF4-FFF2-40B4-BE49-F238E27FC236}">
                    <a16:creationId xmlns="" xmlns:a16="http://schemas.microsoft.com/office/drawing/2014/main" id="{524E2014-A107-4AD8-9A28-1E17EBE643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515" y="339677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Oval 66">
                <a:extLst>
                  <a:ext uri="{FF2B5EF4-FFF2-40B4-BE49-F238E27FC236}">
                    <a16:creationId xmlns="" xmlns:a16="http://schemas.microsoft.com/office/drawing/2014/main" id="{0E61AA6C-784A-425E-86EB-977DCDF505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9835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Oval 67">
                <a:extLst>
                  <a:ext uri="{FF2B5EF4-FFF2-40B4-BE49-F238E27FC236}">
                    <a16:creationId xmlns="" xmlns:a16="http://schemas.microsoft.com/office/drawing/2014/main" id="{071E7611-6D0F-4D86-9D72-F8725B1740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9625" y="4272535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Oval 68">
                <a:extLst>
                  <a:ext uri="{FF2B5EF4-FFF2-40B4-BE49-F238E27FC236}">
                    <a16:creationId xmlns="" xmlns:a16="http://schemas.microsoft.com/office/drawing/2014/main" id="{8A55FF1E-B799-4529-AB31-3F4E760035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64818" y="381649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Oval 69">
                <a:extLst>
                  <a:ext uri="{FF2B5EF4-FFF2-40B4-BE49-F238E27FC236}">
                    <a16:creationId xmlns="" xmlns:a16="http://schemas.microsoft.com/office/drawing/2014/main" id="{EE601973-DAF3-4776-927D-4FE6C46618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45400" y="421468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Oval 70">
                <a:extLst>
                  <a:ext uri="{FF2B5EF4-FFF2-40B4-BE49-F238E27FC236}">
                    <a16:creationId xmlns="" xmlns:a16="http://schemas.microsoft.com/office/drawing/2014/main" id="{2E78D590-F6E7-41C8-BD88-733E9B203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2967" y="3603943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Oval 71">
                <a:extLst>
                  <a:ext uri="{FF2B5EF4-FFF2-40B4-BE49-F238E27FC236}">
                    <a16:creationId xmlns="" xmlns:a16="http://schemas.microsoft.com/office/drawing/2014/main" id="{7DD18819-335E-4831-AFF4-617A220BE3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7618" y="486713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Oval 72">
                <a:extLst>
                  <a:ext uri="{FF2B5EF4-FFF2-40B4-BE49-F238E27FC236}">
                    <a16:creationId xmlns="" xmlns:a16="http://schemas.microsoft.com/office/drawing/2014/main" id="{4E98C501-A8DB-4FFF-87E1-EEFCE686BA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6685" y="464382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Oval 73">
                <a:extLst>
                  <a:ext uri="{FF2B5EF4-FFF2-40B4-BE49-F238E27FC236}">
                    <a16:creationId xmlns="" xmlns:a16="http://schemas.microsoft.com/office/drawing/2014/main" id="{633A82ED-78F1-477D-BDEC-A79F186A77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808" y="3025483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Oval 74">
                <a:extLst>
                  <a:ext uri="{FF2B5EF4-FFF2-40B4-BE49-F238E27FC236}">
                    <a16:creationId xmlns="" xmlns:a16="http://schemas.microsoft.com/office/drawing/2014/main" id="{77457420-4357-4EA1-8399-7B213A716C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7338" y="3531299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Oval 75">
                <a:extLst>
                  <a:ext uri="{FF2B5EF4-FFF2-40B4-BE49-F238E27FC236}">
                    <a16:creationId xmlns="" xmlns:a16="http://schemas.microsoft.com/office/drawing/2014/main" id="{C45FE86D-C0E2-4F08-9B1D-1C08E24866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5425" y="4214689"/>
                <a:ext cx="76680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Oval 76">
                <a:extLst>
                  <a:ext uri="{FF2B5EF4-FFF2-40B4-BE49-F238E27FC236}">
                    <a16:creationId xmlns="" xmlns:a16="http://schemas.microsoft.com/office/drawing/2014/main" id="{484A3009-A9F9-4697-B415-BAAA6C574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49444" y="3846089"/>
                <a:ext cx="73989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Oval 77">
                <a:extLst>
                  <a:ext uri="{FF2B5EF4-FFF2-40B4-BE49-F238E27FC236}">
                    <a16:creationId xmlns="" xmlns:a16="http://schemas.microsoft.com/office/drawing/2014/main" id="{236C25BE-CAA3-41CB-B30B-861AE0BFDF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8807" y="4421859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Oval 78">
                <a:extLst>
                  <a:ext uri="{FF2B5EF4-FFF2-40B4-BE49-F238E27FC236}">
                    <a16:creationId xmlns="" xmlns:a16="http://schemas.microsoft.com/office/drawing/2014/main" id="{5C38EC93-573F-4A0B-B1B8-A8AE0733A6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2244" y="411917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Oval 79">
                <a:extLst>
                  <a:ext uri="{FF2B5EF4-FFF2-40B4-BE49-F238E27FC236}">
                    <a16:creationId xmlns="" xmlns:a16="http://schemas.microsoft.com/office/drawing/2014/main" id="{C8421B68-0EBD-45A0-9976-7058852388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0191" y="3883756"/>
                <a:ext cx="73989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03" name="Freeform: Shape 402">
            <a:extLst>
              <a:ext uri="{FF2B5EF4-FFF2-40B4-BE49-F238E27FC236}">
                <a16:creationId xmlns="" xmlns:a16="http://schemas.microsoft.com/office/drawing/2014/main" id="{E1559E5B-FF33-43E8-99F0-BA0AC2DF459F}"/>
              </a:ext>
            </a:extLst>
          </p:cNvPr>
          <p:cNvSpPr/>
          <p:nvPr/>
        </p:nvSpPr>
        <p:spPr>
          <a:xfrm>
            <a:off x="5829949" y="2052421"/>
            <a:ext cx="6362051" cy="965894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2" name="Freeform: Shape 401">
            <a:extLst>
              <a:ext uri="{FF2B5EF4-FFF2-40B4-BE49-F238E27FC236}">
                <a16:creationId xmlns="" xmlns:a16="http://schemas.microsoft.com/office/drawing/2014/main" id="{BD3E8CD6-1CD5-40D8-9579-ABEBF3310E4E}"/>
              </a:ext>
            </a:extLst>
          </p:cNvPr>
          <p:cNvSpPr/>
          <p:nvPr/>
        </p:nvSpPr>
        <p:spPr>
          <a:xfrm>
            <a:off x="5829949" y="3346283"/>
            <a:ext cx="6362051" cy="965894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8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1" name="Freeform: Shape 400">
            <a:extLst>
              <a:ext uri="{FF2B5EF4-FFF2-40B4-BE49-F238E27FC236}">
                <a16:creationId xmlns="" xmlns:a16="http://schemas.microsoft.com/office/drawing/2014/main" id="{61720478-14FC-4763-BF5D-DC114350F798}"/>
              </a:ext>
            </a:extLst>
          </p:cNvPr>
          <p:cNvSpPr/>
          <p:nvPr/>
        </p:nvSpPr>
        <p:spPr>
          <a:xfrm>
            <a:off x="5829949" y="4640146"/>
            <a:ext cx="6362051" cy="965894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8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8" name="TextBox 447">
            <a:extLst>
              <a:ext uri="{FF2B5EF4-FFF2-40B4-BE49-F238E27FC236}">
                <a16:creationId xmlns="" xmlns:a16="http://schemas.microsoft.com/office/drawing/2014/main" id="{4AA3638F-0F10-46C5-B36F-A10AE40E5E2D}"/>
              </a:ext>
            </a:extLst>
          </p:cNvPr>
          <p:cNvSpPr txBox="1"/>
          <p:nvPr/>
        </p:nvSpPr>
        <p:spPr>
          <a:xfrm>
            <a:off x="4858666" y="86731"/>
            <a:ext cx="4149261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b="1" dirty="0" smtClean="0">
                <a:solidFill>
                  <a:srgbClr val="D63A31"/>
                </a:solidFill>
                <a:latin typeface="+mj-lt"/>
              </a:rPr>
              <a:t>SOMM</a:t>
            </a:r>
            <a:r>
              <a:rPr lang="en-US" sz="4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IRE</a:t>
            </a:r>
            <a:endParaRPr lang="id-ID" sz="44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162" name="Freeform: Shape 161">
            <a:extLst>
              <a:ext uri="{FF2B5EF4-FFF2-40B4-BE49-F238E27FC236}">
                <a16:creationId xmlns="" xmlns:a16="http://schemas.microsoft.com/office/drawing/2014/main" id="{BD54F005-BDA1-4224-9307-F8E5DC090ADD}"/>
              </a:ext>
            </a:extLst>
          </p:cNvPr>
          <p:cNvSpPr/>
          <p:nvPr/>
        </p:nvSpPr>
        <p:spPr>
          <a:xfrm>
            <a:off x="4930140" y="877571"/>
            <a:ext cx="6362051" cy="965894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TextBox 134">
            <a:extLst>
              <a:ext uri="{FF2B5EF4-FFF2-40B4-BE49-F238E27FC236}">
                <a16:creationId xmlns="" xmlns:a16="http://schemas.microsoft.com/office/drawing/2014/main" id="{7C8D54A0-F533-42D8-8BE6-4367D7F44298}"/>
              </a:ext>
            </a:extLst>
          </p:cNvPr>
          <p:cNvSpPr txBox="1"/>
          <p:nvPr/>
        </p:nvSpPr>
        <p:spPr>
          <a:xfrm>
            <a:off x="6209940" y="2343648"/>
            <a:ext cx="4478696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Présentation du projet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="" xmlns:a16="http://schemas.microsoft.com/office/drawing/2014/main" id="{91EEF454-0322-491D-94C9-466402DFB68E}"/>
              </a:ext>
            </a:extLst>
          </p:cNvPr>
          <p:cNvSpPr txBox="1"/>
          <p:nvPr/>
        </p:nvSpPr>
        <p:spPr>
          <a:xfrm>
            <a:off x="6182984" y="4839645"/>
            <a:ext cx="3410856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Démonstration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7" name="Freeform: Shape 136">
            <a:extLst>
              <a:ext uri="{FF2B5EF4-FFF2-40B4-BE49-F238E27FC236}">
                <a16:creationId xmlns="" xmlns:a16="http://schemas.microsoft.com/office/drawing/2014/main" id="{B97CA672-2111-4EC4-8F76-5BDCC69ABD09}"/>
              </a:ext>
            </a:extLst>
          </p:cNvPr>
          <p:cNvSpPr/>
          <p:nvPr/>
        </p:nvSpPr>
        <p:spPr>
          <a:xfrm>
            <a:off x="4702964" y="5827106"/>
            <a:ext cx="6362051" cy="965894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8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8" name="TextBox 137">
            <a:extLst>
              <a:ext uri="{FF2B5EF4-FFF2-40B4-BE49-F238E27FC236}">
                <a16:creationId xmlns="" xmlns:a16="http://schemas.microsoft.com/office/drawing/2014/main" id="{565F314A-5794-41C8-9AAA-CDF11B5DFA36}"/>
              </a:ext>
            </a:extLst>
          </p:cNvPr>
          <p:cNvSpPr txBox="1"/>
          <p:nvPr/>
        </p:nvSpPr>
        <p:spPr>
          <a:xfrm>
            <a:off x="4159877" y="6113838"/>
            <a:ext cx="5582239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>
                <a:solidFill>
                  <a:schemeClr val="bg1"/>
                </a:solidFill>
                <a:latin typeface="+mj-lt"/>
              </a:rPr>
              <a:t>Conclusion</a:t>
            </a:r>
          </a:p>
        </p:txBody>
      </p:sp>
      <p:graphicFrame>
        <p:nvGraphicFramePr>
          <p:cNvPr id="141" name="Chart 140">
            <a:extLst>
              <a:ext uri="{FF2B5EF4-FFF2-40B4-BE49-F238E27FC236}">
                <a16:creationId xmlns="" xmlns:a16="http://schemas.microsoft.com/office/drawing/2014/main" id="{B22D41D9-4E5B-4008-8915-17C3AD8111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5578239"/>
              </p:ext>
            </p:extLst>
          </p:nvPr>
        </p:nvGraphicFramePr>
        <p:xfrm>
          <a:off x="-135467" y="504644"/>
          <a:ext cx="8451927" cy="5555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6" name="TextBox 133">
            <a:extLst>
              <a:ext uri="{FF2B5EF4-FFF2-40B4-BE49-F238E27FC236}">
                <a16:creationId xmlns="" xmlns:a16="http://schemas.microsoft.com/office/drawing/2014/main" id="{9930080C-AE63-407F-A2A9-7697C7D9A6AF}"/>
              </a:ext>
            </a:extLst>
          </p:cNvPr>
          <p:cNvSpPr txBox="1"/>
          <p:nvPr/>
        </p:nvSpPr>
        <p:spPr>
          <a:xfrm>
            <a:off x="5271152" y="1148711"/>
            <a:ext cx="3525836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Contexte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7" name="TextBox 134">
            <a:extLst>
              <a:ext uri="{FF2B5EF4-FFF2-40B4-BE49-F238E27FC236}">
                <a16:creationId xmlns="" xmlns:a16="http://schemas.microsoft.com/office/drawing/2014/main" id="{7C8D54A0-F533-42D8-8BE6-4367D7F44298}"/>
              </a:ext>
            </a:extLst>
          </p:cNvPr>
          <p:cNvSpPr txBox="1"/>
          <p:nvPr/>
        </p:nvSpPr>
        <p:spPr>
          <a:xfrm>
            <a:off x="6145364" y="3565427"/>
            <a:ext cx="6046636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éalisation des spécifications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5" name="Freeform: Shape 136">
            <a:extLst>
              <a:ext uri="{FF2B5EF4-FFF2-40B4-BE49-F238E27FC236}">
                <a16:creationId xmlns="" xmlns:a16="http://schemas.microsoft.com/office/drawing/2014/main" id="{B97CA672-2111-4EC4-8F76-5BDCC69ABD09}"/>
              </a:ext>
            </a:extLst>
          </p:cNvPr>
          <p:cNvSpPr/>
          <p:nvPr/>
        </p:nvSpPr>
        <p:spPr>
          <a:xfrm>
            <a:off x="4726701" y="5853137"/>
            <a:ext cx="6362051" cy="965894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8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8" name="TextBox 137">
            <a:extLst>
              <a:ext uri="{FF2B5EF4-FFF2-40B4-BE49-F238E27FC236}">
                <a16:creationId xmlns="" xmlns:a16="http://schemas.microsoft.com/office/drawing/2014/main" id="{565F314A-5794-41C8-9AAA-CDF11B5DFA36}"/>
              </a:ext>
            </a:extLst>
          </p:cNvPr>
          <p:cNvSpPr txBox="1"/>
          <p:nvPr/>
        </p:nvSpPr>
        <p:spPr>
          <a:xfrm>
            <a:off x="4392217" y="6067244"/>
            <a:ext cx="5582239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>
                <a:solidFill>
                  <a:schemeClr val="bg1"/>
                </a:solidFill>
                <a:latin typeface="+mj-lt"/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80608984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40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40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40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3" grpId="0" animBg="1"/>
      <p:bldP spid="402" grpId="0" animBg="1"/>
      <p:bldP spid="401" grpId="0" animBg="1"/>
      <p:bldP spid="448" grpId="0"/>
      <p:bldP spid="162" grpId="0" animBg="1"/>
      <p:bldP spid="135" grpId="0"/>
      <p:bldP spid="136" grpId="0"/>
      <p:bldP spid="137" grpId="0" animBg="1"/>
      <p:bldP spid="138" grpId="0"/>
      <p:bldGraphic spid="141" grpId="0">
        <p:bldAsOne/>
      </p:bldGraphic>
      <p:bldP spid="116" grpId="0"/>
      <p:bldP spid="117" grpId="0"/>
      <p:bldP spid="115" grpId="0" animBg="1"/>
      <p:bldP spid="11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="" xmlns:a16="http://schemas.microsoft.com/office/drawing/2014/main" id="{3E43A7E6-5608-4886-B02F-638489233242}"/>
              </a:ext>
            </a:extLst>
          </p:cNvPr>
          <p:cNvSpPr/>
          <p:nvPr/>
        </p:nvSpPr>
        <p:spPr>
          <a:xfrm>
            <a:off x="3640251" y="46899"/>
            <a:ext cx="6347812" cy="839713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2588654" y="785403"/>
            <a:ext cx="7399409" cy="708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 algn="ctr">
              <a:buFont typeface="Wingdings" panose="05000000000000000000" pitchFamily="2" charset="2"/>
              <a:buChar char="ü"/>
            </a:pPr>
            <a:r>
              <a:rPr lang="fr-FR" sz="3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fr-FR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ase </a:t>
            </a:r>
            <a:r>
              <a:rPr lang="fr-FR" sz="32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fr-FR" sz="3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3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 designs patterns </a:t>
            </a:r>
            <a:endParaRPr lang="fr-FR" sz="3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9">
            <a:extLst>
              <a:ext uri="{FF2B5EF4-FFF2-40B4-BE49-F238E27FC236}">
                <a16:creationId xmlns="" xmlns:a16="http://schemas.microsoft.com/office/drawing/2014/main" id="{6A18878A-FACF-496E-A937-8B120674250D}"/>
              </a:ext>
            </a:extLst>
          </p:cNvPr>
          <p:cNvSpPr txBox="1"/>
          <p:nvPr/>
        </p:nvSpPr>
        <p:spPr>
          <a:xfrm>
            <a:off x="-149547" y="682902"/>
            <a:ext cx="378979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b="1" dirty="0" err="1" smtClean="0">
                <a:solidFill>
                  <a:srgbClr val="D63A31"/>
                </a:solidFill>
                <a:latin typeface="+mj-lt"/>
              </a:rPr>
              <a:t>Liv</a:t>
            </a:r>
            <a:r>
              <a:rPr lang="en-US" sz="2800" b="1" dirty="0" err="1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rables</a:t>
            </a:r>
            <a:endParaRPr lang="fr-CM" sz="2800" b="1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cxnSp>
        <p:nvCxnSpPr>
          <p:cNvPr id="17" name="Straight Connector 235">
            <a:extLst>
              <a:ext uri="{FF2B5EF4-FFF2-40B4-BE49-F238E27FC236}">
                <a16:creationId xmlns="" xmlns:a16="http://schemas.microsoft.com/office/drawing/2014/main" id="{7CAA804B-F70E-4EBD-A48C-EAD8A7C82985}"/>
              </a:ext>
            </a:extLst>
          </p:cNvPr>
          <p:cNvCxnSpPr/>
          <p:nvPr/>
        </p:nvCxnSpPr>
        <p:spPr>
          <a:xfrm>
            <a:off x="824248" y="1088321"/>
            <a:ext cx="176440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Nuage 13"/>
          <p:cNvSpPr/>
          <p:nvPr/>
        </p:nvSpPr>
        <p:spPr>
          <a:xfrm>
            <a:off x="10951030" y="6148200"/>
            <a:ext cx="731454" cy="492086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 smtClean="0">
                <a:solidFill>
                  <a:schemeClr val="tx2"/>
                </a:solidFill>
                <a:latin typeface="Gabriola" panose="04040605051002020D02" pitchFamily="82" charset="0"/>
              </a:rPr>
              <a:t>20</a:t>
            </a:r>
            <a:endParaRPr lang="fr-FR" sz="3200" b="1" dirty="0">
              <a:solidFill>
                <a:schemeClr val="tx2"/>
              </a:solidFill>
              <a:latin typeface="Gabriola" panose="04040605051002020D02" pitchFamily="82" charset="0"/>
            </a:endParaRPr>
          </a:p>
        </p:txBody>
      </p:sp>
      <p:sp>
        <p:nvSpPr>
          <p:cNvPr id="10" name="TextBox 134">
            <a:extLst>
              <a:ext uri="{FF2B5EF4-FFF2-40B4-BE49-F238E27FC236}">
                <a16:creationId xmlns="" xmlns:a16="http://schemas.microsoft.com/office/drawing/2014/main" id="{7C8D54A0-F533-42D8-8BE6-4367D7F44298}"/>
              </a:ext>
            </a:extLst>
          </p:cNvPr>
          <p:cNvSpPr txBox="1"/>
          <p:nvPr/>
        </p:nvSpPr>
        <p:spPr>
          <a:xfrm>
            <a:off x="3534772" y="239469"/>
            <a:ext cx="6547652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éalisation des specifications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  <a:p>
            <a:pPr algn="ctr">
              <a:buClr>
                <a:schemeClr val="accent2"/>
              </a:buClr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328203" y="1796659"/>
            <a:ext cx="5068884" cy="4686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fr-FR" sz="3000" dirty="0" smtClean="0">
                <a:solidFill>
                  <a:schemeClr val="tx1"/>
                </a:solidFill>
                <a:latin typeface="Baskerville Old Face" panose="02020602080505020303" pitchFamily="18" charset="0"/>
                <a:cs typeface="Times New Roman" panose="02020603050405020304" pitchFamily="18" charset="0"/>
              </a:rPr>
              <a:t>MVC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fr-FR" sz="3000" dirty="0" smtClean="0">
                <a:solidFill>
                  <a:schemeClr val="tx1"/>
                </a:solidFill>
                <a:latin typeface="Baskerville Old Face" panose="02020602080505020303" pitchFamily="18" charset="0"/>
                <a:cs typeface="Times New Roman" panose="02020603050405020304" pitchFamily="18" charset="0"/>
              </a:rPr>
              <a:t>Singlet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fr-FR" sz="3000" dirty="0" err="1" smtClean="0">
                <a:solidFill>
                  <a:schemeClr val="tx1"/>
                </a:solidFill>
                <a:latin typeface="Baskerville Old Face" panose="02020602080505020303" pitchFamily="18" charset="0"/>
                <a:cs typeface="Times New Roman" panose="02020603050405020304" pitchFamily="18" charset="0"/>
              </a:rPr>
              <a:t>Factory</a:t>
            </a:r>
            <a:endParaRPr lang="fr-FR" sz="3000" dirty="0" smtClean="0">
              <a:solidFill>
                <a:schemeClr val="tx1"/>
              </a:solidFill>
              <a:latin typeface="Baskerville Old Face" panose="02020602080505020303" pitchFamily="18" charset="0"/>
              <a:cs typeface="Times New Roman" panose="02020603050405020304" pitchFamily="18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fr-FR" sz="3000" dirty="0" smtClean="0">
                <a:solidFill>
                  <a:schemeClr val="tx1"/>
                </a:solidFill>
                <a:latin typeface="Baskerville Old Face" panose="02020602080505020303" pitchFamily="18" charset="0"/>
                <a:cs typeface="Times New Roman" panose="02020603050405020304" pitchFamily="18" charset="0"/>
              </a:rPr>
              <a:t>Observ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fr-FR" sz="3000" dirty="0" smtClean="0">
                <a:solidFill>
                  <a:schemeClr val="tx1"/>
                </a:solidFill>
                <a:latin typeface="Baskerville Old Face" panose="02020602080505020303" pitchFamily="18" charset="0"/>
                <a:cs typeface="Times New Roman" panose="02020603050405020304" pitchFamily="18" charset="0"/>
              </a:rPr>
              <a:t>DA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fr-FR" sz="3000" dirty="0" smtClean="0">
                <a:solidFill>
                  <a:schemeClr val="tx1"/>
                </a:solidFill>
                <a:latin typeface="Baskerville Old Face" panose="02020602080505020303" pitchFamily="18" charset="0"/>
                <a:cs typeface="Times New Roman" panose="02020603050405020304" pitchFamily="18" charset="0"/>
              </a:rPr>
              <a:t>DTO</a:t>
            </a:r>
            <a:endParaRPr lang="en-US" sz="3000" b="1" dirty="0">
              <a:solidFill>
                <a:schemeClr val="tx1"/>
              </a:solidFill>
              <a:latin typeface="Baskerville Old Face" panose="02020602080505020303" pitchFamily="18" charset="0"/>
              <a:cs typeface="Times New Roman" panose="02020603050405020304" pitchFamily="18" charset="0"/>
            </a:endParaRPr>
          </a:p>
          <a:p>
            <a:pPr algn="ctr"/>
            <a:r>
              <a:rPr lang="fr-FR" sz="2000" dirty="0" smtClean="0">
                <a:solidFill>
                  <a:schemeClr val="tx1"/>
                </a:solidFill>
                <a:latin typeface="Baskerville Old Face" panose="02020602080505020303" pitchFamily="18" charset="0"/>
                <a:cs typeface="Times New Roman" panose="02020603050405020304" pitchFamily="18" charset="0"/>
              </a:rPr>
              <a:t> </a:t>
            </a:r>
            <a:endParaRPr lang="fr-FR" sz="2000" dirty="0">
              <a:solidFill>
                <a:schemeClr val="tx1"/>
              </a:solidFill>
              <a:latin typeface="Baskerville Old Face" panose="02020602080505020303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Image 10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5441" y="2677274"/>
            <a:ext cx="4787900" cy="26771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1634843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=""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610632" y="178855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5317A23A-1D36-4056-8091-4D899737F633}"/>
              </a:ext>
            </a:extLst>
          </p:cNvPr>
          <p:cNvSpPr/>
          <p:nvPr/>
        </p:nvSpPr>
        <p:spPr>
          <a:xfrm>
            <a:off x="1056861" y="2307102"/>
            <a:ext cx="7032061" cy="19656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reeform: Shape 15">
            <a:extLst>
              <a:ext uri="{FF2B5EF4-FFF2-40B4-BE49-F238E27FC236}">
                <a16:creationId xmlns="" xmlns:a16="http://schemas.microsoft.com/office/drawing/2014/main" id="{126591DD-ACDA-46B7-BE4D-590501B9D24F}"/>
              </a:ext>
            </a:extLst>
          </p:cNvPr>
          <p:cNvSpPr/>
          <p:nvPr/>
        </p:nvSpPr>
        <p:spPr>
          <a:xfrm>
            <a:off x="1361286" y="2804164"/>
            <a:ext cx="6347812" cy="839713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CD9101A6-0C92-4E39-8AD2-EF99DF50422E}"/>
              </a:ext>
            </a:extLst>
          </p:cNvPr>
          <p:cNvSpPr txBox="1"/>
          <p:nvPr/>
        </p:nvSpPr>
        <p:spPr>
          <a:xfrm>
            <a:off x="1936818" y="3034542"/>
            <a:ext cx="465094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>
                <a:solidFill>
                  <a:schemeClr val="bg1"/>
                </a:solidFill>
                <a:latin typeface="+mj-lt"/>
              </a:rPr>
              <a:t>DEMONSTRATION</a:t>
            </a:r>
          </a:p>
        </p:txBody>
      </p:sp>
      <p:sp>
        <p:nvSpPr>
          <p:cNvPr id="11" name="Nuage 10"/>
          <p:cNvSpPr/>
          <p:nvPr/>
        </p:nvSpPr>
        <p:spPr>
          <a:xfrm>
            <a:off x="10951030" y="6148200"/>
            <a:ext cx="828594" cy="485682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 smtClean="0">
                <a:solidFill>
                  <a:schemeClr val="tx2"/>
                </a:solidFill>
                <a:latin typeface="Gabriola" panose="04040605051002020D02" pitchFamily="82" charset="0"/>
              </a:rPr>
              <a:t>21</a:t>
            </a:r>
            <a:endParaRPr lang="fr-FR" sz="3200" b="1" dirty="0">
              <a:solidFill>
                <a:schemeClr val="tx2"/>
              </a:solidFill>
              <a:latin typeface="Gabriola" panose="04040605051002020D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772301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Group 122">
            <a:extLst>
              <a:ext uri="{FF2B5EF4-FFF2-40B4-BE49-F238E27FC236}">
                <a16:creationId xmlns="" xmlns:a16="http://schemas.microsoft.com/office/drawing/2014/main" id="{F15D468B-912B-4F03-BF26-A34CDB2FDF14}"/>
              </a:ext>
            </a:extLst>
          </p:cNvPr>
          <p:cNvGrpSpPr/>
          <p:nvPr/>
        </p:nvGrpSpPr>
        <p:grpSpPr>
          <a:xfrm>
            <a:off x="2972305" y="281355"/>
            <a:ext cx="7184573" cy="6115672"/>
            <a:chOff x="2984501" y="1762125"/>
            <a:chExt cx="3175000" cy="333375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24" name="Freeform 5">
              <a:extLst>
                <a:ext uri="{FF2B5EF4-FFF2-40B4-BE49-F238E27FC236}">
                  <a16:creationId xmlns="" xmlns:a16="http://schemas.microsoft.com/office/drawing/2014/main" id="{C96403CF-CD95-45CA-8ADC-28DFE48F2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1" y="2657475"/>
              <a:ext cx="1006475" cy="1749425"/>
            </a:xfrm>
            <a:custGeom>
              <a:avLst/>
              <a:gdLst>
                <a:gd name="T0" fmla="*/ 167 w 267"/>
                <a:gd name="T1" fmla="*/ 465 h 465"/>
                <a:gd name="T2" fmla="*/ 20 w 267"/>
                <a:gd name="T3" fmla="*/ 289 h 465"/>
                <a:gd name="T4" fmla="*/ 267 w 267"/>
                <a:gd name="T5" fmla="*/ 0 h 465"/>
                <a:gd name="T6" fmla="*/ 143 w 267"/>
                <a:gd name="T7" fmla="*/ 250 h 465"/>
                <a:gd name="T8" fmla="*/ 167 w 267"/>
                <a:gd name="T9" fmla="*/ 465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465">
                  <a:moveTo>
                    <a:pt x="167" y="465"/>
                  </a:moveTo>
                  <a:cubicBezTo>
                    <a:pt x="167" y="465"/>
                    <a:pt x="37" y="424"/>
                    <a:pt x="20" y="289"/>
                  </a:cubicBezTo>
                  <a:cubicBezTo>
                    <a:pt x="0" y="123"/>
                    <a:pt x="267" y="0"/>
                    <a:pt x="267" y="0"/>
                  </a:cubicBezTo>
                  <a:cubicBezTo>
                    <a:pt x="267" y="0"/>
                    <a:pt x="158" y="136"/>
                    <a:pt x="143" y="250"/>
                  </a:cubicBezTo>
                  <a:cubicBezTo>
                    <a:pt x="126" y="376"/>
                    <a:pt x="167" y="465"/>
                    <a:pt x="167" y="465"/>
                  </a:cubicBezTo>
                  <a:close/>
                </a:path>
              </a:pathLst>
            </a:custGeom>
            <a:solidFill>
              <a:srgbClr val="3B39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5" name="Freeform 6">
              <a:extLst>
                <a:ext uri="{FF2B5EF4-FFF2-40B4-BE49-F238E27FC236}">
                  <a16:creationId xmlns="" xmlns:a16="http://schemas.microsoft.com/office/drawing/2014/main" id="{67DBC952-4541-4D8C-BCD7-EC9AA4DBE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138" y="1901825"/>
              <a:ext cx="1817688" cy="1189038"/>
            </a:xfrm>
            <a:custGeom>
              <a:avLst/>
              <a:gdLst>
                <a:gd name="T0" fmla="*/ 30 w 483"/>
                <a:gd name="T1" fmla="*/ 316 h 316"/>
                <a:gd name="T2" fmla="*/ 109 w 483"/>
                <a:gd name="T3" fmla="*/ 100 h 316"/>
                <a:gd name="T4" fmla="*/ 483 w 483"/>
                <a:gd name="T5" fmla="*/ 170 h 316"/>
                <a:gd name="T6" fmla="*/ 204 w 483"/>
                <a:gd name="T7" fmla="*/ 187 h 316"/>
                <a:gd name="T8" fmla="*/ 30 w 483"/>
                <a:gd name="T9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316">
                  <a:moveTo>
                    <a:pt x="30" y="316"/>
                  </a:moveTo>
                  <a:cubicBezTo>
                    <a:pt x="30" y="316"/>
                    <a:pt x="0" y="183"/>
                    <a:pt x="109" y="100"/>
                  </a:cubicBezTo>
                  <a:cubicBezTo>
                    <a:pt x="243" y="0"/>
                    <a:pt x="483" y="170"/>
                    <a:pt x="483" y="170"/>
                  </a:cubicBezTo>
                  <a:cubicBezTo>
                    <a:pt x="483" y="170"/>
                    <a:pt x="310" y="143"/>
                    <a:pt x="204" y="187"/>
                  </a:cubicBezTo>
                  <a:cubicBezTo>
                    <a:pt x="87" y="235"/>
                    <a:pt x="30" y="316"/>
                    <a:pt x="30" y="316"/>
                  </a:cubicBez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6" name="Freeform 7">
              <a:extLst>
                <a:ext uri="{FF2B5EF4-FFF2-40B4-BE49-F238E27FC236}">
                  <a16:creationId xmlns="" xmlns:a16="http://schemas.microsoft.com/office/drawing/2014/main" id="{4F44E269-0077-4FFC-A132-B1B41FCC2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0526" y="1762125"/>
              <a:ext cx="1431925" cy="1550988"/>
            </a:xfrm>
            <a:custGeom>
              <a:avLst/>
              <a:gdLst>
                <a:gd name="T0" fmla="*/ 0 w 380"/>
                <a:gd name="T1" fmla="*/ 92 h 412"/>
                <a:gd name="T2" fmla="*/ 227 w 380"/>
                <a:gd name="T3" fmla="*/ 53 h 412"/>
                <a:gd name="T4" fmla="*/ 354 w 380"/>
                <a:gd name="T5" fmla="*/ 412 h 412"/>
                <a:gd name="T6" fmla="*/ 199 w 380"/>
                <a:gd name="T7" fmla="*/ 179 h 412"/>
                <a:gd name="T8" fmla="*/ 0 w 380"/>
                <a:gd name="T9" fmla="*/ 9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0" h="412">
                  <a:moveTo>
                    <a:pt x="0" y="92"/>
                  </a:moveTo>
                  <a:cubicBezTo>
                    <a:pt x="0" y="92"/>
                    <a:pt x="101" y="0"/>
                    <a:pt x="227" y="53"/>
                  </a:cubicBezTo>
                  <a:cubicBezTo>
                    <a:pt x="380" y="119"/>
                    <a:pt x="354" y="412"/>
                    <a:pt x="354" y="412"/>
                  </a:cubicBezTo>
                  <a:cubicBezTo>
                    <a:pt x="354" y="412"/>
                    <a:pt x="290" y="249"/>
                    <a:pt x="199" y="179"/>
                  </a:cubicBezTo>
                  <a:cubicBezTo>
                    <a:pt x="99" y="102"/>
                    <a:pt x="0" y="92"/>
                    <a:pt x="0" y="92"/>
                  </a:cubicBezTo>
                  <a:close/>
                </a:path>
              </a:pathLst>
            </a:custGeom>
            <a:solidFill>
              <a:srgbClr val="78D2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7" name="Freeform 8">
              <a:extLst>
                <a:ext uri="{FF2B5EF4-FFF2-40B4-BE49-F238E27FC236}">
                  <a16:creationId xmlns="" xmlns:a16="http://schemas.microsoft.com/office/drawing/2014/main" id="{13186C6B-03E5-4974-88D3-676D06EA2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3026" y="2451100"/>
              <a:ext cx="1006475" cy="1749425"/>
            </a:xfrm>
            <a:custGeom>
              <a:avLst/>
              <a:gdLst>
                <a:gd name="T0" fmla="*/ 100 w 267"/>
                <a:gd name="T1" fmla="*/ 0 h 465"/>
                <a:gd name="T2" fmla="*/ 247 w 267"/>
                <a:gd name="T3" fmla="*/ 176 h 465"/>
                <a:gd name="T4" fmla="*/ 0 w 267"/>
                <a:gd name="T5" fmla="*/ 465 h 465"/>
                <a:gd name="T6" fmla="*/ 124 w 267"/>
                <a:gd name="T7" fmla="*/ 215 h 465"/>
                <a:gd name="T8" fmla="*/ 100 w 267"/>
                <a:gd name="T9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465">
                  <a:moveTo>
                    <a:pt x="100" y="0"/>
                  </a:moveTo>
                  <a:cubicBezTo>
                    <a:pt x="100" y="0"/>
                    <a:pt x="230" y="41"/>
                    <a:pt x="247" y="176"/>
                  </a:cubicBezTo>
                  <a:cubicBezTo>
                    <a:pt x="267" y="342"/>
                    <a:pt x="0" y="465"/>
                    <a:pt x="0" y="465"/>
                  </a:cubicBezTo>
                  <a:cubicBezTo>
                    <a:pt x="0" y="465"/>
                    <a:pt x="109" y="329"/>
                    <a:pt x="124" y="215"/>
                  </a:cubicBezTo>
                  <a:cubicBezTo>
                    <a:pt x="141" y="89"/>
                    <a:pt x="100" y="0"/>
                    <a:pt x="100" y="0"/>
                  </a:cubicBezTo>
                  <a:close/>
                </a:path>
              </a:pathLst>
            </a:custGeom>
            <a:solidFill>
              <a:srgbClr val="3B39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8" name="Freeform 9">
              <a:extLst>
                <a:ext uri="{FF2B5EF4-FFF2-40B4-BE49-F238E27FC236}">
                  <a16:creationId xmlns="" xmlns:a16="http://schemas.microsoft.com/office/drawing/2014/main" id="{0B966091-DA6B-496A-92DB-8A50C2FB7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4176" y="3767138"/>
              <a:ext cx="1817688" cy="1189038"/>
            </a:xfrm>
            <a:custGeom>
              <a:avLst/>
              <a:gdLst>
                <a:gd name="T0" fmla="*/ 453 w 483"/>
                <a:gd name="T1" fmla="*/ 0 h 316"/>
                <a:gd name="T2" fmla="*/ 374 w 483"/>
                <a:gd name="T3" fmla="*/ 216 h 316"/>
                <a:gd name="T4" fmla="*/ 0 w 483"/>
                <a:gd name="T5" fmla="*/ 146 h 316"/>
                <a:gd name="T6" fmla="*/ 279 w 483"/>
                <a:gd name="T7" fmla="*/ 129 h 316"/>
                <a:gd name="T8" fmla="*/ 453 w 483"/>
                <a:gd name="T9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316">
                  <a:moveTo>
                    <a:pt x="453" y="0"/>
                  </a:moveTo>
                  <a:cubicBezTo>
                    <a:pt x="453" y="0"/>
                    <a:pt x="483" y="133"/>
                    <a:pt x="374" y="216"/>
                  </a:cubicBezTo>
                  <a:cubicBezTo>
                    <a:pt x="241" y="316"/>
                    <a:pt x="0" y="146"/>
                    <a:pt x="0" y="146"/>
                  </a:cubicBezTo>
                  <a:cubicBezTo>
                    <a:pt x="0" y="146"/>
                    <a:pt x="173" y="173"/>
                    <a:pt x="279" y="129"/>
                  </a:cubicBezTo>
                  <a:cubicBezTo>
                    <a:pt x="396" y="81"/>
                    <a:pt x="453" y="0"/>
                    <a:pt x="453" y="0"/>
                  </a:cubicBez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9" name="Freeform 10">
              <a:extLst>
                <a:ext uri="{FF2B5EF4-FFF2-40B4-BE49-F238E27FC236}">
                  <a16:creationId xmlns="" xmlns:a16="http://schemas.microsoft.com/office/drawing/2014/main" id="{88F000F2-6951-4CAF-909D-DEA53E45D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1" y="3544888"/>
              <a:ext cx="1431925" cy="1550988"/>
            </a:xfrm>
            <a:custGeom>
              <a:avLst/>
              <a:gdLst>
                <a:gd name="T0" fmla="*/ 380 w 380"/>
                <a:gd name="T1" fmla="*/ 320 h 412"/>
                <a:gd name="T2" fmla="*/ 153 w 380"/>
                <a:gd name="T3" fmla="*/ 359 h 412"/>
                <a:gd name="T4" fmla="*/ 27 w 380"/>
                <a:gd name="T5" fmla="*/ 0 h 412"/>
                <a:gd name="T6" fmla="*/ 181 w 380"/>
                <a:gd name="T7" fmla="*/ 233 h 412"/>
                <a:gd name="T8" fmla="*/ 380 w 380"/>
                <a:gd name="T9" fmla="*/ 32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0" h="412">
                  <a:moveTo>
                    <a:pt x="380" y="320"/>
                  </a:moveTo>
                  <a:cubicBezTo>
                    <a:pt x="380" y="320"/>
                    <a:pt x="279" y="412"/>
                    <a:pt x="153" y="359"/>
                  </a:cubicBezTo>
                  <a:cubicBezTo>
                    <a:pt x="0" y="293"/>
                    <a:pt x="27" y="0"/>
                    <a:pt x="27" y="0"/>
                  </a:cubicBezTo>
                  <a:cubicBezTo>
                    <a:pt x="27" y="0"/>
                    <a:pt x="90" y="163"/>
                    <a:pt x="181" y="233"/>
                  </a:cubicBezTo>
                  <a:cubicBezTo>
                    <a:pt x="282" y="310"/>
                    <a:pt x="380" y="320"/>
                    <a:pt x="380" y="320"/>
                  </a:cubicBezTo>
                  <a:close/>
                </a:path>
              </a:pathLst>
            </a:custGeom>
            <a:solidFill>
              <a:srgbClr val="78D2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131" name="TextBox 130">
            <a:extLst>
              <a:ext uri="{FF2B5EF4-FFF2-40B4-BE49-F238E27FC236}">
                <a16:creationId xmlns="" xmlns:a16="http://schemas.microsoft.com/office/drawing/2014/main" id="{96FA523D-A1B8-4328-8A12-E65ED99EBE9F}"/>
              </a:ext>
            </a:extLst>
          </p:cNvPr>
          <p:cNvSpPr txBox="1"/>
          <p:nvPr/>
        </p:nvSpPr>
        <p:spPr>
          <a:xfrm>
            <a:off x="3737843" y="2937574"/>
            <a:ext cx="5582239" cy="10156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6600" b="1" dirty="0">
                <a:latin typeface="+mj-lt"/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895225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>
            <a:extLst>
              <a:ext uri="{FF2B5EF4-FFF2-40B4-BE49-F238E27FC236}">
                <a16:creationId xmlns="" xmlns:a16="http://schemas.microsoft.com/office/drawing/2014/main" id="{9ED8F563-ADC7-44DE-BFE8-AA1B76FC27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3"/>
            <a:ext cx="12188891" cy="6055732"/>
          </a:xfrm>
          <a:prstGeom prst="rect">
            <a:avLst/>
          </a:prstGeom>
          <a:gradFill flip="none" rotWithShape="1">
            <a:gsLst>
              <a:gs pos="50000">
                <a:schemeClr val="accent3">
                  <a:lumMod val="75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  <a:gs pos="0">
                <a:schemeClr val="accent3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9F1FCC83-D858-4E83-951A-524FA5BFCDD5}"/>
              </a:ext>
            </a:extLst>
          </p:cNvPr>
          <p:cNvSpPr txBox="1"/>
          <p:nvPr/>
        </p:nvSpPr>
        <p:spPr>
          <a:xfrm>
            <a:off x="2043309" y="949750"/>
            <a:ext cx="7964375" cy="44319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9600" b="1" dirty="0" smtClean="0">
                <a:solidFill>
                  <a:schemeClr val="bg1"/>
                </a:solidFill>
                <a:latin typeface="+mj-lt"/>
              </a:rPr>
              <a:t>MERCI POUR VOTRE</a:t>
            </a:r>
            <a:r>
              <a:rPr lang="en-US" sz="96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9600" b="1" dirty="0" smtClean="0">
                <a:solidFill>
                  <a:schemeClr val="bg1"/>
                </a:solidFill>
                <a:latin typeface="+mj-lt"/>
              </a:rPr>
              <a:t>ATTENTION !!!  </a:t>
            </a:r>
            <a:endParaRPr lang="id-ID" sz="96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="" xmlns:a16="http://schemas.microsoft.com/office/drawing/2014/main" id="{EB97392A-2B76-45EE-8353-05FE0369A96F}"/>
              </a:ext>
            </a:extLst>
          </p:cNvPr>
          <p:cNvGrpSpPr/>
          <p:nvPr/>
        </p:nvGrpSpPr>
        <p:grpSpPr>
          <a:xfrm flipH="1">
            <a:off x="544124" y="246677"/>
            <a:ext cx="11103746" cy="1914300"/>
            <a:chOff x="814298" y="3025483"/>
            <a:chExt cx="11103746" cy="1914300"/>
          </a:xfrm>
          <a:solidFill>
            <a:schemeClr val="bg1"/>
          </a:solidFill>
        </p:grpSpPr>
        <p:sp>
          <p:nvSpPr>
            <p:cNvPr id="51" name="Oval 58">
              <a:extLst>
                <a:ext uri="{FF2B5EF4-FFF2-40B4-BE49-F238E27FC236}">
                  <a16:creationId xmlns="" xmlns:a16="http://schemas.microsoft.com/office/drawing/2014/main" id="{ADACE6FA-E90A-4890-822C-BDD6AF1669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428" y="4608849"/>
              <a:ext cx="72644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Oval 59">
              <a:extLst>
                <a:ext uri="{FF2B5EF4-FFF2-40B4-BE49-F238E27FC236}">
                  <a16:creationId xmlns="" xmlns:a16="http://schemas.microsoft.com/office/drawing/2014/main" id="{58B70817-9861-4740-9A5B-302480E31B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0332" y="4828126"/>
              <a:ext cx="73989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Oval 60">
              <a:extLst>
                <a:ext uri="{FF2B5EF4-FFF2-40B4-BE49-F238E27FC236}">
                  <a16:creationId xmlns="" xmlns:a16="http://schemas.microsoft.com/office/drawing/2014/main" id="{A1F5551C-5A5C-4515-AA36-762E7F5257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Oval 61">
              <a:extLst>
                <a:ext uri="{FF2B5EF4-FFF2-40B4-BE49-F238E27FC236}">
                  <a16:creationId xmlns="" xmlns:a16="http://schemas.microsoft.com/office/drawing/2014/main" id="{53B338A4-A9A7-48E2-8436-BC21B1D4C7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62">
              <a:extLst>
                <a:ext uri="{FF2B5EF4-FFF2-40B4-BE49-F238E27FC236}">
                  <a16:creationId xmlns="" xmlns:a16="http://schemas.microsoft.com/office/drawing/2014/main" id="{1AC685C9-2137-45D4-B108-CC3CCEC964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Oval 63">
              <a:extLst>
                <a:ext uri="{FF2B5EF4-FFF2-40B4-BE49-F238E27FC236}">
                  <a16:creationId xmlns="" xmlns:a16="http://schemas.microsoft.com/office/drawing/2014/main" id="{EB3EECAC-CE90-42C3-A152-6F12246747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Oval 64">
              <a:extLst>
                <a:ext uri="{FF2B5EF4-FFF2-40B4-BE49-F238E27FC236}">
                  <a16:creationId xmlns="" xmlns:a16="http://schemas.microsoft.com/office/drawing/2014/main" id="{0AF50880-8A1B-4307-82DF-AC327FC56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4694" y="3260902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Oval 65">
              <a:extLst>
                <a:ext uri="{FF2B5EF4-FFF2-40B4-BE49-F238E27FC236}">
                  <a16:creationId xmlns="" xmlns:a16="http://schemas.microsoft.com/office/drawing/2014/main" id="{E6B9F83E-46E2-4C08-9F4A-EE4BA17821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Oval 66">
              <a:extLst>
                <a:ext uri="{FF2B5EF4-FFF2-40B4-BE49-F238E27FC236}">
                  <a16:creationId xmlns="" xmlns:a16="http://schemas.microsoft.com/office/drawing/2014/main" id="{2D772505-B700-400A-9E6E-FE44D2F599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9835" y="3260902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Oval 67">
              <a:extLst>
                <a:ext uri="{FF2B5EF4-FFF2-40B4-BE49-F238E27FC236}">
                  <a16:creationId xmlns="" xmlns:a16="http://schemas.microsoft.com/office/drawing/2014/main" id="{43961854-BA74-445F-8F7C-85B0E217F9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68">
              <a:extLst>
                <a:ext uri="{FF2B5EF4-FFF2-40B4-BE49-F238E27FC236}">
                  <a16:creationId xmlns="" xmlns:a16="http://schemas.microsoft.com/office/drawing/2014/main" id="{1FE017B3-530F-4AAC-8E2F-574F38AC9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69">
              <a:extLst>
                <a:ext uri="{FF2B5EF4-FFF2-40B4-BE49-F238E27FC236}">
                  <a16:creationId xmlns="" xmlns:a16="http://schemas.microsoft.com/office/drawing/2014/main" id="{9D3C4901-2500-46C2-9E2D-E861882C2E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45400" y="4214689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70">
              <a:extLst>
                <a:ext uri="{FF2B5EF4-FFF2-40B4-BE49-F238E27FC236}">
                  <a16:creationId xmlns="" xmlns:a16="http://schemas.microsoft.com/office/drawing/2014/main" id="{64F1F47D-B4B7-4F7F-B0B0-84331BF03F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Oval 71">
              <a:extLst>
                <a:ext uri="{FF2B5EF4-FFF2-40B4-BE49-F238E27FC236}">
                  <a16:creationId xmlns="" xmlns:a16="http://schemas.microsoft.com/office/drawing/2014/main" id="{DF04B3BB-825D-4F52-9422-BB46E5425E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7618" y="4867139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Oval 72">
              <a:extLst>
                <a:ext uri="{FF2B5EF4-FFF2-40B4-BE49-F238E27FC236}">
                  <a16:creationId xmlns="" xmlns:a16="http://schemas.microsoft.com/office/drawing/2014/main" id="{79CCD85C-01D9-4D48-94D7-FA099E8D4E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6685" y="4643826"/>
              <a:ext cx="76680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Oval 73">
              <a:extLst>
                <a:ext uri="{FF2B5EF4-FFF2-40B4-BE49-F238E27FC236}">
                  <a16:creationId xmlns="" xmlns:a16="http://schemas.microsoft.com/office/drawing/2014/main" id="{2E7D36BB-1E1A-40F4-93F9-BD6C9E197C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3808" y="3025483"/>
              <a:ext cx="7264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Oval 74">
              <a:extLst>
                <a:ext uri="{FF2B5EF4-FFF2-40B4-BE49-F238E27FC236}">
                  <a16:creationId xmlns="" xmlns:a16="http://schemas.microsoft.com/office/drawing/2014/main" id="{30072D1B-3E1F-41E2-B531-4CFE55AA9C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Oval 75">
              <a:extLst>
                <a:ext uri="{FF2B5EF4-FFF2-40B4-BE49-F238E27FC236}">
                  <a16:creationId xmlns="" xmlns:a16="http://schemas.microsoft.com/office/drawing/2014/main" id="{7122F621-FB1A-4230-AC59-AF0CF6D9A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76">
              <a:extLst>
                <a:ext uri="{FF2B5EF4-FFF2-40B4-BE49-F238E27FC236}">
                  <a16:creationId xmlns="" xmlns:a16="http://schemas.microsoft.com/office/drawing/2014/main" id="{0B2C924E-53C9-45F3-81A1-C0B5B60A92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Oval 77">
              <a:extLst>
                <a:ext uri="{FF2B5EF4-FFF2-40B4-BE49-F238E27FC236}">
                  <a16:creationId xmlns="" xmlns:a16="http://schemas.microsoft.com/office/drawing/2014/main" id="{D1B3D9A1-75E9-4869-BD69-B997B630DF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Oval 78">
              <a:extLst>
                <a:ext uri="{FF2B5EF4-FFF2-40B4-BE49-F238E27FC236}">
                  <a16:creationId xmlns="" xmlns:a16="http://schemas.microsoft.com/office/drawing/2014/main" id="{E8B93F87-34BF-4943-97D6-652D7BBCD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12244" y="4119176"/>
              <a:ext cx="76680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79">
              <a:extLst>
                <a:ext uri="{FF2B5EF4-FFF2-40B4-BE49-F238E27FC236}">
                  <a16:creationId xmlns="" xmlns:a16="http://schemas.microsoft.com/office/drawing/2014/main" id="{C7E27E45-8FB0-47C7-89DE-DCB7BE04C9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0191" y="3883756"/>
              <a:ext cx="73989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="" xmlns:a16="http://schemas.microsoft.com/office/drawing/2014/main" id="{C53B0E02-68CD-4A67-B974-EE90342D2F97}"/>
              </a:ext>
            </a:extLst>
          </p:cNvPr>
          <p:cNvGrpSpPr/>
          <p:nvPr/>
        </p:nvGrpSpPr>
        <p:grpSpPr>
          <a:xfrm>
            <a:off x="399639" y="388912"/>
            <a:ext cx="11392723" cy="3027269"/>
            <a:chOff x="2659604" y="1441625"/>
            <a:chExt cx="6415594" cy="1704748"/>
          </a:xfrm>
          <a:solidFill>
            <a:schemeClr val="bg1">
              <a:alpha val="10000"/>
            </a:schemeClr>
          </a:solidFill>
        </p:grpSpPr>
        <p:grpSp>
          <p:nvGrpSpPr>
            <p:cNvPr id="5" name="Group 4">
              <a:extLst>
                <a:ext uri="{FF2B5EF4-FFF2-40B4-BE49-F238E27FC236}">
                  <a16:creationId xmlns="" xmlns:a16="http://schemas.microsoft.com/office/drawing/2014/main" id="{2CAB4A14-A8F7-4EDD-9AC0-29B36E0997CE}"/>
                </a:ext>
              </a:extLst>
            </p:cNvPr>
            <p:cNvGrpSpPr/>
            <p:nvPr/>
          </p:nvGrpSpPr>
          <p:grpSpPr>
            <a:xfrm>
              <a:off x="2659604" y="1441625"/>
              <a:ext cx="6415594" cy="801274"/>
              <a:chOff x="1364205" y="298625"/>
              <a:chExt cx="6415594" cy="801274"/>
            </a:xfrm>
            <a:grpFill/>
          </p:grpSpPr>
          <p:sp>
            <p:nvSpPr>
              <p:cNvPr id="7" name="Freeform 10">
                <a:extLst>
                  <a:ext uri="{FF2B5EF4-FFF2-40B4-BE49-F238E27FC236}">
                    <a16:creationId xmlns="" xmlns:a16="http://schemas.microsoft.com/office/drawing/2014/main" id="{99F34B89-8228-4AA3-A742-DF4C717BE9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96069" y="680929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10">
                <a:extLst>
                  <a:ext uri="{FF2B5EF4-FFF2-40B4-BE49-F238E27FC236}">
                    <a16:creationId xmlns="" xmlns:a16="http://schemas.microsoft.com/office/drawing/2014/main" id="{7A69EF59-BB46-434A-9215-DC75DBA9FD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7425" y="298625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10">
                <a:extLst>
                  <a:ext uri="{FF2B5EF4-FFF2-40B4-BE49-F238E27FC236}">
                    <a16:creationId xmlns="" xmlns:a16="http://schemas.microsoft.com/office/drawing/2014/main" id="{AD7328C6-D230-4DAD-ABF2-A08335BC5A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781" y="680929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10">
                <a:extLst>
                  <a:ext uri="{FF2B5EF4-FFF2-40B4-BE49-F238E27FC236}">
                    <a16:creationId xmlns="" xmlns:a16="http://schemas.microsoft.com/office/drawing/2014/main" id="{617FF9FF-E4D8-4D89-9446-988C351B57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30137" y="298625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="" xmlns:a16="http://schemas.microsoft.com/office/drawing/2014/main" id="{5E8C3578-1331-4A8F-A1A8-A9C03AF58D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41493" y="680929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="" xmlns:a16="http://schemas.microsoft.com/office/drawing/2014/main" id="{A0961401-E30D-4546-985C-9D870BD610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52849" y="298625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0">
                <a:extLst>
                  <a:ext uri="{FF2B5EF4-FFF2-40B4-BE49-F238E27FC236}">
                    <a16:creationId xmlns="" xmlns:a16="http://schemas.microsoft.com/office/drawing/2014/main" id="{9E637FD0-A520-42C4-8137-1C24619522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64205" y="680929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="" xmlns:a16="http://schemas.microsoft.com/office/drawing/2014/main" id="{22382CF1-7823-4F6B-A1E1-C667F27E89B3}"/>
                </a:ext>
              </a:extLst>
            </p:cNvPr>
            <p:cNvGrpSpPr/>
            <p:nvPr/>
          </p:nvGrpSpPr>
          <p:grpSpPr>
            <a:xfrm>
              <a:off x="3044606" y="2542573"/>
              <a:ext cx="5645588" cy="603800"/>
              <a:chOff x="1758605" y="1148800"/>
              <a:chExt cx="5645588" cy="603800"/>
            </a:xfrm>
            <a:grpFill/>
          </p:grpSpPr>
          <p:sp>
            <p:nvSpPr>
              <p:cNvPr id="17" name="Freeform 22">
                <a:extLst>
                  <a:ext uri="{FF2B5EF4-FFF2-40B4-BE49-F238E27FC236}">
                    <a16:creationId xmlns="" xmlns:a16="http://schemas.microsoft.com/office/drawing/2014/main" id="{D4830223-DFF0-435E-8FC0-62584C1B0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5860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2">
                <a:extLst>
                  <a:ext uri="{FF2B5EF4-FFF2-40B4-BE49-F238E27FC236}">
                    <a16:creationId xmlns="" xmlns:a16="http://schemas.microsoft.com/office/drawing/2014/main" id="{86BDC774-F753-462C-A7DF-3FB7EE19BD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57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22">
                <a:extLst>
                  <a:ext uri="{FF2B5EF4-FFF2-40B4-BE49-F238E27FC236}">
                    <a16:creationId xmlns="" xmlns:a16="http://schemas.microsoft.com/office/drawing/2014/main" id="{B4F668FB-7D63-4DB2-87A8-6B24A2187E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0454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2">
                <a:extLst>
                  <a:ext uri="{FF2B5EF4-FFF2-40B4-BE49-F238E27FC236}">
                    <a16:creationId xmlns="" xmlns:a16="http://schemas.microsoft.com/office/drawing/2014/main" id="{1E81D41B-D688-44BC-BEEE-8EFE886FD2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751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2">
                <a:extLst>
                  <a:ext uri="{FF2B5EF4-FFF2-40B4-BE49-F238E27FC236}">
                    <a16:creationId xmlns="" xmlns:a16="http://schemas.microsoft.com/office/drawing/2014/main" id="{5AB975C2-428A-47D2-84A8-ED6CB30231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048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2">
                <a:extLst>
                  <a:ext uri="{FF2B5EF4-FFF2-40B4-BE49-F238E27FC236}">
                    <a16:creationId xmlns="" xmlns:a16="http://schemas.microsoft.com/office/drawing/2014/main" id="{75FBD9A2-FC81-4F42-A4F9-5C7FEC9ECA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345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5EEA6D70-FD8A-47BA-AD81-1F655292223A}"/>
              </a:ext>
            </a:extLst>
          </p:cNvPr>
          <p:cNvGrpSpPr/>
          <p:nvPr/>
        </p:nvGrpSpPr>
        <p:grpSpPr>
          <a:xfrm>
            <a:off x="544124" y="1501882"/>
            <a:ext cx="11103746" cy="1914300"/>
            <a:chOff x="814298" y="3025483"/>
            <a:chExt cx="11103746" cy="1914300"/>
          </a:xfrm>
          <a:solidFill>
            <a:schemeClr val="bg1"/>
          </a:solidFill>
        </p:grpSpPr>
        <p:sp>
          <p:nvSpPr>
            <p:cNvPr id="26" name="Oval 58">
              <a:extLst>
                <a:ext uri="{FF2B5EF4-FFF2-40B4-BE49-F238E27FC236}">
                  <a16:creationId xmlns="" xmlns:a16="http://schemas.microsoft.com/office/drawing/2014/main" id="{C9FE51A8-C17C-4467-8273-C082218C38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428" y="4608849"/>
              <a:ext cx="72644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59">
              <a:extLst>
                <a:ext uri="{FF2B5EF4-FFF2-40B4-BE49-F238E27FC236}">
                  <a16:creationId xmlns="" xmlns:a16="http://schemas.microsoft.com/office/drawing/2014/main" id="{117BF3D3-8F9D-42CB-86E3-53A66E6840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0332" y="4828126"/>
              <a:ext cx="73989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60">
              <a:extLst>
                <a:ext uri="{FF2B5EF4-FFF2-40B4-BE49-F238E27FC236}">
                  <a16:creationId xmlns="" xmlns:a16="http://schemas.microsoft.com/office/drawing/2014/main" id="{FF20C897-AF5E-4C63-B1F5-7DB34F4900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61">
              <a:extLst>
                <a:ext uri="{FF2B5EF4-FFF2-40B4-BE49-F238E27FC236}">
                  <a16:creationId xmlns="" xmlns:a16="http://schemas.microsoft.com/office/drawing/2014/main" id="{9D5272B1-9869-433E-B528-AF14AC5D50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62">
              <a:extLst>
                <a:ext uri="{FF2B5EF4-FFF2-40B4-BE49-F238E27FC236}">
                  <a16:creationId xmlns="" xmlns:a16="http://schemas.microsoft.com/office/drawing/2014/main" id="{7084D2A4-8162-409F-8398-C821489D13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63">
              <a:extLst>
                <a:ext uri="{FF2B5EF4-FFF2-40B4-BE49-F238E27FC236}">
                  <a16:creationId xmlns="" xmlns:a16="http://schemas.microsoft.com/office/drawing/2014/main" id="{955073EC-3B5B-4A14-A548-1F77D7B8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64">
              <a:extLst>
                <a:ext uri="{FF2B5EF4-FFF2-40B4-BE49-F238E27FC236}">
                  <a16:creationId xmlns="" xmlns:a16="http://schemas.microsoft.com/office/drawing/2014/main" id="{5E525545-D290-4122-998B-775263F9A6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4694" y="3260902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65">
              <a:extLst>
                <a:ext uri="{FF2B5EF4-FFF2-40B4-BE49-F238E27FC236}">
                  <a16:creationId xmlns="" xmlns:a16="http://schemas.microsoft.com/office/drawing/2014/main" id="{A249F4E5-AF21-4C48-BAF1-08744EAD21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66">
              <a:extLst>
                <a:ext uri="{FF2B5EF4-FFF2-40B4-BE49-F238E27FC236}">
                  <a16:creationId xmlns="" xmlns:a16="http://schemas.microsoft.com/office/drawing/2014/main" id="{ABDD882B-58EE-4368-AF61-7FC1827A73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9835" y="3260902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67">
              <a:extLst>
                <a:ext uri="{FF2B5EF4-FFF2-40B4-BE49-F238E27FC236}">
                  <a16:creationId xmlns="" xmlns:a16="http://schemas.microsoft.com/office/drawing/2014/main" id="{778FD01D-718A-4601-AFFE-F6892181A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68">
              <a:extLst>
                <a:ext uri="{FF2B5EF4-FFF2-40B4-BE49-F238E27FC236}">
                  <a16:creationId xmlns="" xmlns:a16="http://schemas.microsoft.com/office/drawing/2014/main" id="{11A0DED6-D75A-4E59-8A17-495A569FEC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69">
              <a:extLst>
                <a:ext uri="{FF2B5EF4-FFF2-40B4-BE49-F238E27FC236}">
                  <a16:creationId xmlns="" xmlns:a16="http://schemas.microsoft.com/office/drawing/2014/main" id="{28EA82FC-E1A0-4B0B-8F28-6EFC1C9F9D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45400" y="4214689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70">
              <a:extLst>
                <a:ext uri="{FF2B5EF4-FFF2-40B4-BE49-F238E27FC236}">
                  <a16:creationId xmlns="" xmlns:a16="http://schemas.microsoft.com/office/drawing/2014/main" id="{635CFFFC-9C70-475A-8C32-1C667671DA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71">
              <a:extLst>
                <a:ext uri="{FF2B5EF4-FFF2-40B4-BE49-F238E27FC236}">
                  <a16:creationId xmlns="" xmlns:a16="http://schemas.microsoft.com/office/drawing/2014/main" id="{E6737169-B044-483E-82C3-3339C6F122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7618" y="4867139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72">
              <a:extLst>
                <a:ext uri="{FF2B5EF4-FFF2-40B4-BE49-F238E27FC236}">
                  <a16:creationId xmlns="" xmlns:a16="http://schemas.microsoft.com/office/drawing/2014/main" id="{4994A3B9-B2B0-4C41-AF61-5D1FF703E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6685" y="4643826"/>
              <a:ext cx="76680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73">
              <a:extLst>
                <a:ext uri="{FF2B5EF4-FFF2-40B4-BE49-F238E27FC236}">
                  <a16:creationId xmlns="" xmlns:a16="http://schemas.microsoft.com/office/drawing/2014/main" id="{BFC7E522-1B4B-4D0B-B75A-B12FC0AA93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3808" y="3025483"/>
              <a:ext cx="7264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74">
              <a:extLst>
                <a:ext uri="{FF2B5EF4-FFF2-40B4-BE49-F238E27FC236}">
                  <a16:creationId xmlns="" xmlns:a16="http://schemas.microsoft.com/office/drawing/2014/main" id="{D2E99DFC-932B-4AEC-8524-9E53176F8B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75">
              <a:extLst>
                <a:ext uri="{FF2B5EF4-FFF2-40B4-BE49-F238E27FC236}">
                  <a16:creationId xmlns="" xmlns:a16="http://schemas.microsoft.com/office/drawing/2014/main" id="{F250811B-2E87-4225-B8DD-239E0E37B9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76">
              <a:extLst>
                <a:ext uri="{FF2B5EF4-FFF2-40B4-BE49-F238E27FC236}">
                  <a16:creationId xmlns="" xmlns:a16="http://schemas.microsoft.com/office/drawing/2014/main" id="{AFEDF159-FA0A-4EFE-A731-206D302EB2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Oval 77">
              <a:extLst>
                <a:ext uri="{FF2B5EF4-FFF2-40B4-BE49-F238E27FC236}">
                  <a16:creationId xmlns="" xmlns:a16="http://schemas.microsoft.com/office/drawing/2014/main" id="{82CA4409-0B38-433F-B25C-45E4A30187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78">
              <a:extLst>
                <a:ext uri="{FF2B5EF4-FFF2-40B4-BE49-F238E27FC236}">
                  <a16:creationId xmlns="" xmlns:a16="http://schemas.microsoft.com/office/drawing/2014/main" id="{4332D21F-EAC2-47EA-885B-B4FA19AB35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12244" y="4119176"/>
              <a:ext cx="76680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79">
              <a:extLst>
                <a:ext uri="{FF2B5EF4-FFF2-40B4-BE49-F238E27FC236}">
                  <a16:creationId xmlns="" xmlns:a16="http://schemas.microsoft.com/office/drawing/2014/main" id="{D05E329D-6EBB-40F8-8C05-2ABAFCDC4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0191" y="3883756"/>
              <a:ext cx="73989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="" xmlns:a16="http://schemas.microsoft.com/office/drawing/2014/main" id="{25535D8B-625E-4FD5-ACB1-081EA787058A}"/>
              </a:ext>
            </a:extLst>
          </p:cNvPr>
          <p:cNvGrpSpPr/>
          <p:nvPr/>
        </p:nvGrpSpPr>
        <p:grpSpPr>
          <a:xfrm flipH="1">
            <a:off x="1048840" y="3441818"/>
            <a:ext cx="10094315" cy="1914300"/>
            <a:chOff x="814298" y="3025483"/>
            <a:chExt cx="11103746" cy="1914300"/>
          </a:xfrm>
          <a:solidFill>
            <a:schemeClr val="bg1"/>
          </a:solidFill>
        </p:grpSpPr>
        <p:sp>
          <p:nvSpPr>
            <p:cNvPr id="154" name="Oval 58">
              <a:extLst>
                <a:ext uri="{FF2B5EF4-FFF2-40B4-BE49-F238E27FC236}">
                  <a16:creationId xmlns="" xmlns:a16="http://schemas.microsoft.com/office/drawing/2014/main" id="{77403FC8-87E9-43AF-A9B5-4C98416B5D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428" y="4608849"/>
              <a:ext cx="72644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Oval 59">
              <a:extLst>
                <a:ext uri="{FF2B5EF4-FFF2-40B4-BE49-F238E27FC236}">
                  <a16:creationId xmlns="" xmlns:a16="http://schemas.microsoft.com/office/drawing/2014/main" id="{BDCA56CA-8619-4EED-BF66-0B2F94C657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0332" y="4828126"/>
              <a:ext cx="73989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Oval 60">
              <a:extLst>
                <a:ext uri="{FF2B5EF4-FFF2-40B4-BE49-F238E27FC236}">
                  <a16:creationId xmlns="" xmlns:a16="http://schemas.microsoft.com/office/drawing/2014/main" id="{D6CD70E1-54A7-46E8-8548-26739BDE7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Oval 61">
              <a:extLst>
                <a:ext uri="{FF2B5EF4-FFF2-40B4-BE49-F238E27FC236}">
                  <a16:creationId xmlns="" xmlns:a16="http://schemas.microsoft.com/office/drawing/2014/main" id="{860A3C9E-DD03-4D87-AF36-D2E537D107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Oval 62">
              <a:extLst>
                <a:ext uri="{FF2B5EF4-FFF2-40B4-BE49-F238E27FC236}">
                  <a16:creationId xmlns="" xmlns:a16="http://schemas.microsoft.com/office/drawing/2014/main" id="{C6E86624-A98D-42DE-93A2-677E67FAED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Oval 63">
              <a:extLst>
                <a:ext uri="{FF2B5EF4-FFF2-40B4-BE49-F238E27FC236}">
                  <a16:creationId xmlns="" xmlns:a16="http://schemas.microsoft.com/office/drawing/2014/main" id="{F17CAA7B-480D-4795-A699-7DDE43C278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Oval 64">
              <a:extLst>
                <a:ext uri="{FF2B5EF4-FFF2-40B4-BE49-F238E27FC236}">
                  <a16:creationId xmlns="" xmlns:a16="http://schemas.microsoft.com/office/drawing/2014/main" id="{6768C6CD-4506-4D11-8A06-439F2190B3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4694" y="3260902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Oval 65">
              <a:extLst>
                <a:ext uri="{FF2B5EF4-FFF2-40B4-BE49-F238E27FC236}">
                  <a16:creationId xmlns="" xmlns:a16="http://schemas.microsoft.com/office/drawing/2014/main" id="{3CDE53D5-0F51-458A-9E56-5E56A384D3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Oval 66">
              <a:extLst>
                <a:ext uri="{FF2B5EF4-FFF2-40B4-BE49-F238E27FC236}">
                  <a16:creationId xmlns="" xmlns:a16="http://schemas.microsoft.com/office/drawing/2014/main" id="{B52B2593-3605-4D31-9B1D-3CF2ECC5F8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9835" y="3260902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Oval 67">
              <a:extLst>
                <a:ext uri="{FF2B5EF4-FFF2-40B4-BE49-F238E27FC236}">
                  <a16:creationId xmlns="" xmlns:a16="http://schemas.microsoft.com/office/drawing/2014/main" id="{DFF42C09-7545-462E-AE8B-5BB429C513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Oval 68">
              <a:extLst>
                <a:ext uri="{FF2B5EF4-FFF2-40B4-BE49-F238E27FC236}">
                  <a16:creationId xmlns="" xmlns:a16="http://schemas.microsoft.com/office/drawing/2014/main" id="{83ACFC2B-FA44-465E-8F46-50C4130DDC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Oval 69">
              <a:extLst>
                <a:ext uri="{FF2B5EF4-FFF2-40B4-BE49-F238E27FC236}">
                  <a16:creationId xmlns="" xmlns:a16="http://schemas.microsoft.com/office/drawing/2014/main" id="{DA1207D3-F3C4-455E-B29D-297CB80C06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45400" y="4214689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Oval 70">
              <a:extLst>
                <a:ext uri="{FF2B5EF4-FFF2-40B4-BE49-F238E27FC236}">
                  <a16:creationId xmlns="" xmlns:a16="http://schemas.microsoft.com/office/drawing/2014/main" id="{CF7232D8-4E79-45A0-A693-695A7391C0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Oval 71">
              <a:extLst>
                <a:ext uri="{FF2B5EF4-FFF2-40B4-BE49-F238E27FC236}">
                  <a16:creationId xmlns="" xmlns:a16="http://schemas.microsoft.com/office/drawing/2014/main" id="{877BE5EA-FF31-412B-819D-D4CA670FB7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7618" y="4867139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Oval 72">
              <a:extLst>
                <a:ext uri="{FF2B5EF4-FFF2-40B4-BE49-F238E27FC236}">
                  <a16:creationId xmlns="" xmlns:a16="http://schemas.microsoft.com/office/drawing/2014/main" id="{0857E3C7-AFBE-4272-8071-B95A23B90A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6685" y="4643826"/>
              <a:ext cx="76680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Oval 73">
              <a:extLst>
                <a:ext uri="{FF2B5EF4-FFF2-40B4-BE49-F238E27FC236}">
                  <a16:creationId xmlns="" xmlns:a16="http://schemas.microsoft.com/office/drawing/2014/main" id="{E87570AD-76D0-46E4-ACD1-9952BF75A3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3808" y="3025483"/>
              <a:ext cx="7264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Oval 74">
              <a:extLst>
                <a:ext uri="{FF2B5EF4-FFF2-40B4-BE49-F238E27FC236}">
                  <a16:creationId xmlns="" xmlns:a16="http://schemas.microsoft.com/office/drawing/2014/main" id="{6BD8AEB9-0984-43BA-B32C-139AA89781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Oval 75">
              <a:extLst>
                <a:ext uri="{FF2B5EF4-FFF2-40B4-BE49-F238E27FC236}">
                  <a16:creationId xmlns="" xmlns:a16="http://schemas.microsoft.com/office/drawing/2014/main" id="{CDAE298C-6DD2-4F1B-88DB-D410E542F8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Oval 76">
              <a:extLst>
                <a:ext uri="{FF2B5EF4-FFF2-40B4-BE49-F238E27FC236}">
                  <a16:creationId xmlns="" xmlns:a16="http://schemas.microsoft.com/office/drawing/2014/main" id="{C343CCCA-4E49-4FBF-A5B7-1994F05D9B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Oval 77">
              <a:extLst>
                <a:ext uri="{FF2B5EF4-FFF2-40B4-BE49-F238E27FC236}">
                  <a16:creationId xmlns="" xmlns:a16="http://schemas.microsoft.com/office/drawing/2014/main" id="{D3B36CC9-3C20-4AB8-BEB5-71F71D6DF7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Oval 78">
              <a:extLst>
                <a:ext uri="{FF2B5EF4-FFF2-40B4-BE49-F238E27FC236}">
                  <a16:creationId xmlns="" xmlns:a16="http://schemas.microsoft.com/office/drawing/2014/main" id="{B7ED6361-DA08-432D-98D0-C9C3C71CEE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12244" y="4119176"/>
              <a:ext cx="76680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Oval 79">
              <a:extLst>
                <a:ext uri="{FF2B5EF4-FFF2-40B4-BE49-F238E27FC236}">
                  <a16:creationId xmlns="" xmlns:a16="http://schemas.microsoft.com/office/drawing/2014/main" id="{B896C2E7-0DF4-4FB4-998D-A3C7CA6316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0191" y="3883756"/>
              <a:ext cx="73989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="" xmlns:a16="http://schemas.microsoft.com/office/drawing/2014/main" id="{6A25F29D-FF4C-417D-B4A7-2C8E5A26C541}"/>
              </a:ext>
            </a:extLst>
          </p:cNvPr>
          <p:cNvGrpSpPr/>
          <p:nvPr/>
        </p:nvGrpSpPr>
        <p:grpSpPr>
          <a:xfrm>
            <a:off x="917490" y="3584053"/>
            <a:ext cx="10357021" cy="3027269"/>
            <a:chOff x="2659604" y="1441625"/>
            <a:chExt cx="6415594" cy="1704748"/>
          </a:xfrm>
          <a:solidFill>
            <a:schemeClr val="bg1">
              <a:alpha val="10000"/>
            </a:schemeClr>
          </a:solidFill>
        </p:grpSpPr>
        <p:grpSp>
          <p:nvGrpSpPr>
            <p:cNvPr id="139" name="Group 138">
              <a:extLst>
                <a:ext uri="{FF2B5EF4-FFF2-40B4-BE49-F238E27FC236}">
                  <a16:creationId xmlns="" xmlns:a16="http://schemas.microsoft.com/office/drawing/2014/main" id="{F54006D4-FFCB-408A-902D-E4698776C948}"/>
                </a:ext>
              </a:extLst>
            </p:cNvPr>
            <p:cNvGrpSpPr/>
            <p:nvPr/>
          </p:nvGrpSpPr>
          <p:grpSpPr>
            <a:xfrm>
              <a:off x="2659604" y="1441625"/>
              <a:ext cx="6415594" cy="801274"/>
              <a:chOff x="1364205" y="298625"/>
              <a:chExt cx="6415594" cy="801274"/>
            </a:xfrm>
            <a:grpFill/>
          </p:grpSpPr>
          <p:sp>
            <p:nvSpPr>
              <p:cNvPr id="147" name="Freeform 10">
                <a:extLst>
                  <a:ext uri="{FF2B5EF4-FFF2-40B4-BE49-F238E27FC236}">
                    <a16:creationId xmlns="" xmlns:a16="http://schemas.microsoft.com/office/drawing/2014/main" id="{07410C32-ABD9-45E6-9900-5E15EF15C4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96069" y="680929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10">
                <a:extLst>
                  <a:ext uri="{FF2B5EF4-FFF2-40B4-BE49-F238E27FC236}">
                    <a16:creationId xmlns="" xmlns:a16="http://schemas.microsoft.com/office/drawing/2014/main" id="{C75D5FA7-8DA7-4962-BD3A-FD065D26D9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7425" y="298625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10">
                <a:extLst>
                  <a:ext uri="{FF2B5EF4-FFF2-40B4-BE49-F238E27FC236}">
                    <a16:creationId xmlns="" xmlns:a16="http://schemas.microsoft.com/office/drawing/2014/main" id="{CF9CEB92-649B-4333-81E2-D8885856AD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781" y="680929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10">
                <a:extLst>
                  <a:ext uri="{FF2B5EF4-FFF2-40B4-BE49-F238E27FC236}">
                    <a16:creationId xmlns="" xmlns:a16="http://schemas.microsoft.com/office/drawing/2014/main" id="{A574E290-B430-4089-A401-97405210C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30137" y="298625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10">
                <a:extLst>
                  <a:ext uri="{FF2B5EF4-FFF2-40B4-BE49-F238E27FC236}">
                    <a16:creationId xmlns="" xmlns:a16="http://schemas.microsoft.com/office/drawing/2014/main" id="{6F047286-5C4D-46C5-AB44-31B6AA0749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41493" y="680929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10">
                <a:extLst>
                  <a:ext uri="{FF2B5EF4-FFF2-40B4-BE49-F238E27FC236}">
                    <a16:creationId xmlns="" xmlns:a16="http://schemas.microsoft.com/office/drawing/2014/main" id="{9CE5B644-D1AB-4DD9-8B03-78197F00ED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52849" y="298625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10">
                <a:extLst>
                  <a:ext uri="{FF2B5EF4-FFF2-40B4-BE49-F238E27FC236}">
                    <a16:creationId xmlns="" xmlns:a16="http://schemas.microsoft.com/office/drawing/2014/main" id="{697CBC50-3875-41FA-9DDA-2298F715F6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64205" y="680929"/>
                <a:ext cx="483730" cy="418970"/>
              </a:xfrm>
              <a:custGeom>
                <a:avLst/>
                <a:gdLst>
                  <a:gd name="T0" fmla="*/ 354 w 493"/>
                  <a:gd name="T1" fmla="*/ 423 h 427"/>
                  <a:gd name="T2" fmla="*/ 318 w 493"/>
                  <a:gd name="T3" fmla="*/ 324 h 427"/>
                  <a:gd name="T4" fmla="*/ 352 w 493"/>
                  <a:gd name="T5" fmla="*/ 303 h 427"/>
                  <a:gd name="T6" fmla="*/ 294 w 493"/>
                  <a:gd name="T7" fmla="*/ 279 h 427"/>
                  <a:gd name="T8" fmla="*/ 294 w 493"/>
                  <a:gd name="T9" fmla="*/ 230 h 427"/>
                  <a:gd name="T10" fmla="*/ 294 w 493"/>
                  <a:gd name="T11" fmla="*/ 170 h 427"/>
                  <a:gd name="T12" fmla="*/ 357 w 493"/>
                  <a:gd name="T13" fmla="*/ 158 h 427"/>
                  <a:gd name="T14" fmla="*/ 376 w 493"/>
                  <a:gd name="T15" fmla="*/ 166 h 427"/>
                  <a:gd name="T16" fmla="*/ 378 w 493"/>
                  <a:gd name="T17" fmla="*/ 206 h 427"/>
                  <a:gd name="T18" fmla="*/ 481 w 493"/>
                  <a:gd name="T19" fmla="*/ 223 h 427"/>
                  <a:gd name="T20" fmla="*/ 402 w 493"/>
                  <a:gd name="T21" fmla="*/ 262 h 427"/>
                  <a:gd name="T22" fmla="*/ 326 w 493"/>
                  <a:gd name="T23" fmla="*/ 221 h 427"/>
                  <a:gd name="T24" fmla="*/ 347 w 493"/>
                  <a:gd name="T25" fmla="*/ 286 h 427"/>
                  <a:gd name="T26" fmla="*/ 318 w 493"/>
                  <a:gd name="T27" fmla="*/ 122 h 427"/>
                  <a:gd name="T28" fmla="*/ 354 w 493"/>
                  <a:gd name="T29" fmla="*/ 101 h 427"/>
                  <a:gd name="T30" fmla="*/ 371 w 493"/>
                  <a:gd name="T31" fmla="*/ 0 h 427"/>
                  <a:gd name="T32" fmla="*/ 294 w 493"/>
                  <a:gd name="T33" fmla="*/ 67 h 427"/>
                  <a:gd name="T34" fmla="*/ 278 w 493"/>
                  <a:gd name="T35" fmla="*/ 286 h 427"/>
                  <a:gd name="T36" fmla="*/ 282 w 493"/>
                  <a:gd name="T37" fmla="*/ 372 h 427"/>
                  <a:gd name="T38" fmla="*/ 294 w 493"/>
                  <a:gd name="T39" fmla="*/ 279 h 427"/>
                  <a:gd name="T40" fmla="*/ 280 w 493"/>
                  <a:gd name="T41" fmla="*/ 247 h 427"/>
                  <a:gd name="T42" fmla="*/ 294 w 493"/>
                  <a:gd name="T43" fmla="*/ 199 h 427"/>
                  <a:gd name="T44" fmla="*/ 282 w 493"/>
                  <a:gd name="T45" fmla="*/ 182 h 427"/>
                  <a:gd name="T46" fmla="*/ 292 w 493"/>
                  <a:gd name="T47" fmla="*/ 151 h 427"/>
                  <a:gd name="T48" fmla="*/ 270 w 493"/>
                  <a:gd name="T49" fmla="*/ 50 h 427"/>
                  <a:gd name="T50" fmla="*/ 273 w 493"/>
                  <a:gd name="T51" fmla="*/ 115 h 427"/>
                  <a:gd name="T52" fmla="*/ 247 w 493"/>
                  <a:gd name="T53" fmla="*/ 134 h 427"/>
                  <a:gd name="T54" fmla="*/ 259 w 493"/>
                  <a:gd name="T55" fmla="*/ 168 h 427"/>
                  <a:gd name="T56" fmla="*/ 256 w 493"/>
                  <a:gd name="T57" fmla="*/ 262 h 427"/>
                  <a:gd name="T58" fmla="*/ 247 w 493"/>
                  <a:gd name="T59" fmla="*/ 339 h 427"/>
                  <a:gd name="T60" fmla="*/ 201 w 493"/>
                  <a:gd name="T61" fmla="*/ 363 h 427"/>
                  <a:gd name="T62" fmla="*/ 203 w 493"/>
                  <a:gd name="T63" fmla="*/ 322 h 427"/>
                  <a:gd name="T64" fmla="*/ 239 w 493"/>
                  <a:gd name="T65" fmla="*/ 339 h 427"/>
                  <a:gd name="T66" fmla="*/ 237 w 493"/>
                  <a:gd name="T67" fmla="*/ 262 h 427"/>
                  <a:gd name="T68" fmla="*/ 235 w 493"/>
                  <a:gd name="T69" fmla="*/ 168 h 427"/>
                  <a:gd name="T70" fmla="*/ 247 w 493"/>
                  <a:gd name="T71" fmla="*/ 89 h 427"/>
                  <a:gd name="T72" fmla="*/ 225 w 493"/>
                  <a:gd name="T73" fmla="*/ 77 h 427"/>
                  <a:gd name="T74" fmla="*/ 201 w 493"/>
                  <a:gd name="T75" fmla="*/ 70 h 427"/>
                  <a:gd name="T76" fmla="*/ 203 w 493"/>
                  <a:gd name="T77" fmla="*/ 168 h 427"/>
                  <a:gd name="T78" fmla="*/ 201 w 493"/>
                  <a:gd name="T79" fmla="*/ 202 h 427"/>
                  <a:gd name="T80" fmla="*/ 201 w 493"/>
                  <a:gd name="T81" fmla="*/ 226 h 427"/>
                  <a:gd name="T82" fmla="*/ 203 w 493"/>
                  <a:gd name="T83" fmla="*/ 259 h 427"/>
                  <a:gd name="T84" fmla="*/ 52 w 493"/>
                  <a:gd name="T85" fmla="*/ 228 h 427"/>
                  <a:gd name="T86" fmla="*/ 96 w 493"/>
                  <a:gd name="T87" fmla="*/ 274 h 427"/>
                  <a:gd name="T88" fmla="*/ 148 w 493"/>
                  <a:gd name="T89" fmla="*/ 240 h 427"/>
                  <a:gd name="T90" fmla="*/ 175 w 493"/>
                  <a:gd name="T91" fmla="*/ 286 h 427"/>
                  <a:gd name="T92" fmla="*/ 194 w 493"/>
                  <a:gd name="T93" fmla="*/ 233 h 427"/>
                  <a:gd name="T94" fmla="*/ 177 w 493"/>
                  <a:gd name="T95" fmla="*/ 173 h 427"/>
                  <a:gd name="T96" fmla="*/ 143 w 493"/>
                  <a:gd name="T97" fmla="*/ 144 h 427"/>
                  <a:gd name="T98" fmla="*/ 131 w 493"/>
                  <a:gd name="T99" fmla="*/ 197 h 427"/>
                  <a:gd name="T100" fmla="*/ 96 w 493"/>
                  <a:gd name="T101" fmla="*/ 178 h 427"/>
                  <a:gd name="T102" fmla="*/ 0 w 493"/>
                  <a:gd name="T103" fmla="*/ 214 h 427"/>
                  <a:gd name="T104" fmla="*/ 179 w 493"/>
                  <a:gd name="T105" fmla="*/ 346 h 427"/>
                  <a:gd name="T106" fmla="*/ 136 w 493"/>
                  <a:gd name="T107" fmla="*/ 375 h 427"/>
                  <a:gd name="T108" fmla="*/ 117 w 493"/>
                  <a:gd name="T109" fmla="*/ 315 h 427"/>
                  <a:gd name="T110" fmla="*/ 201 w 493"/>
                  <a:gd name="T111" fmla="*/ 279 h 427"/>
                  <a:gd name="T112" fmla="*/ 127 w 493"/>
                  <a:gd name="T113" fmla="*/ 120 h 427"/>
                  <a:gd name="T114" fmla="*/ 167 w 493"/>
                  <a:gd name="T115" fmla="*/ 89 h 427"/>
                  <a:gd name="T116" fmla="*/ 163 w 493"/>
                  <a:gd name="T117" fmla="*/ 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3" h="427">
                    <a:moveTo>
                      <a:pt x="294" y="358"/>
                    </a:moveTo>
                    <a:lnTo>
                      <a:pt x="306" y="331"/>
                    </a:lnTo>
                    <a:lnTo>
                      <a:pt x="314" y="346"/>
                    </a:lnTo>
                    <a:lnTo>
                      <a:pt x="330" y="389"/>
                    </a:lnTo>
                    <a:lnTo>
                      <a:pt x="354" y="423"/>
                    </a:lnTo>
                    <a:lnTo>
                      <a:pt x="371" y="427"/>
                    </a:lnTo>
                    <a:lnTo>
                      <a:pt x="371" y="413"/>
                    </a:lnTo>
                    <a:lnTo>
                      <a:pt x="357" y="375"/>
                    </a:lnTo>
                    <a:lnTo>
                      <a:pt x="328" y="339"/>
                    </a:lnTo>
                    <a:lnTo>
                      <a:pt x="318" y="324"/>
                    </a:lnTo>
                    <a:lnTo>
                      <a:pt x="354" y="327"/>
                    </a:lnTo>
                    <a:lnTo>
                      <a:pt x="366" y="324"/>
                    </a:lnTo>
                    <a:lnTo>
                      <a:pt x="376" y="317"/>
                    </a:lnTo>
                    <a:lnTo>
                      <a:pt x="369" y="307"/>
                    </a:lnTo>
                    <a:lnTo>
                      <a:pt x="352" y="303"/>
                    </a:lnTo>
                    <a:lnTo>
                      <a:pt x="318" y="305"/>
                    </a:lnTo>
                    <a:lnTo>
                      <a:pt x="294" y="279"/>
                    </a:lnTo>
                    <a:lnTo>
                      <a:pt x="294" y="358"/>
                    </a:lnTo>
                    <a:lnTo>
                      <a:pt x="294" y="358"/>
                    </a:lnTo>
                    <a:close/>
                    <a:moveTo>
                      <a:pt x="294" y="279"/>
                    </a:moveTo>
                    <a:lnTo>
                      <a:pt x="294" y="257"/>
                    </a:lnTo>
                    <a:lnTo>
                      <a:pt x="316" y="254"/>
                    </a:lnTo>
                    <a:lnTo>
                      <a:pt x="306" y="230"/>
                    </a:lnTo>
                    <a:lnTo>
                      <a:pt x="302" y="233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302" y="194"/>
                    </a:lnTo>
                    <a:lnTo>
                      <a:pt x="306" y="199"/>
                    </a:lnTo>
                    <a:lnTo>
                      <a:pt x="316" y="173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318" y="142"/>
                    </a:lnTo>
                    <a:lnTo>
                      <a:pt x="347" y="142"/>
                    </a:lnTo>
                    <a:lnTo>
                      <a:pt x="359" y="158"/>
                    </a:lnTo>
                    <a:lnTo>
                      <a:pt x="357" y="158"/>
                    </a:lnTo>
                    <a:lnTo>
                      <a:pt x="359" y="163"/>
                    </a:lnTo>
                    <a:lnTo>
                      <a:pt x="345" y="187"/>
                    </a:lnTo>
                    <a:lnTo>
                      <a:pt x="326" y="206"/>
                    </a:lnTo>
                    <a:lnTo>
                      <a:pt x="362" y="199"/>
                    </a:lnTo>
                    <a:lnTo>
                      <a:pt x="376" y="166"/>
                    </a:lnTo>
                    <a:lnTo>
                      <a:pt x="388" y="156"/>
                    </a:lnTo>
                    <a:lnTo>
                      <a:pt x="400" y="154"/>
                    </a:lnTo>
                    <a:lnTo>
                      <a:pt x="402" y="166"/>
                    </a:lnTo>
                    <a:lnTo>
                      <a:pt x="400" y="178"/>
                    </a:lnTo>
                    <a:lnTo>
                      <a:pt x="378" y="206"/>
                    </a:lnTo>
                    <a:lnTo>
                      <a:pt x="395" y="206"/>
                    </a:lnTo>
                    <a:lnTo>
                      <a:pt x="441" y="199"/>
                    </a:lnTo>
                    <a:lnTo>
                      <a:pt x="481" y="204"/>
                    </a:lnTo>
                    <a:lnTo>
                      <a:pt x="493" y="214"/>
                    </a:lnTo>
                    <a:lnTo>
                      <a:pt x="481" y="223"/>
                    </a:lnTo>
                    <a:lnTo>
                      <a:pt x="441" y="228"/>
                    </a:lnTo>
                    <a:lnTo>
                      <a:pt x="395" y="221"/>
                    </a:lnTo>
                    <a:lnTo>
                      <a:pt x="378" y="221"/>
                    </a:lnTo>
                    <a:lnTo>
                      <a:pt x="400" y="250"/>
                    </a:lnTo>
                    <a:lnTo>
                      <a:pt x="402" y="262"/>
                    </a:lnTo>
                    <a:lnTo>
                      <a:pt x="400" y="276"/>
                    </a:lnTo>
                    <a:lnTo>
                      <a:pt x="388" y="274"/>
                    </a:lnTo>
                    <a:lnTo>
                      <a:pt x="376" y="262"/>
                    </a:lnTo>
                    <a:lnTo>
                      <a:pt x="362" y="230"/>
                    </a:lnTo>
                    <a:lnTo>
                      <a:pt x="326" y="221"/>
                    </a:lnTo>
                    <a:lnTo>
                      <a:pt x="345" y="240"/>
                    </a:lnTo>
                    <a:lnTo>
                      <a:pt x="359" y="267"/>
                    </a:lnTo>
                    <a:lnTo>
                      <a:pt x="350" y="283"/>
                    </a:lnTo>
                    <a:lnTo>
                      <a:pt x="350" y="283"/>
                    </a:lnTo>
                    <a:lnTo>
                      <a:pt x="347" y="286"/>
                    </a:lnTo>
                    <a:lnTo>
                      <a:pt x="318" y="286"/>
                    </a:lnTo>
                    <a:lnTo>
                      <a:pt x="294" y="279"/>
                    </a:lnTo>
                    <a:lnTo>
                      <a:pt x="294" y="279"/>
                    </a:lnTo>
                    <a:close/>
                    <a:moveTo>
                      <a:pt x="294" y="149"/>
                    </a:moveTo>
                    <a:lnTo>
                      <a:pt x="318" y="122"/>
                    </a:lnTo>
                    <a:lnTo>
                      <a:pt x="354" y="125"/>
                    </a:lnTo>
                    <a:lnTo>
                      <a:pt x="369" y="120"/>
                    </a:lnTo>
                    <a:lnTo>
                      <a:pt x="376" y="113"/>
                    </a:lnTo>
                    <a:lnTo>
                      <a:pt x="366" y="103"/>
                    </a:lnTo>
                    <a:lnTo>
                      <a:pt x="354" y="101"/>
                    </a:lnTo>
                    <a:lnTo>
                      <a:pt x="321" y="103"/>
                    </a:lnTo>
                    <a:lnTo>
                      <a:pt x="328" y="89"/>
                    </a:lnTo>
                    <a:lnTo>
                      <a:pt x="357" y="53"/>
                    </a:lnTo>
                    <a:lnTo>
                      <a:pt x="374" y="14"/>
                    </a:lnTo>
                    <a:lnTo>
                      <a:pt x="371" y="0"/>
                    </a:lnTo>
                    <a:lnTo>
                      <a:pt x="357" y="5"/>
                    </a:lnTo>
                    <a:lnTo>
                      <a:pt x="333" y="38"/>
                    </a:lnTo>
                    <a:lnTo>
                      <a:pt x="314" y="82"/>
                    </a:lnTo>
                    <a:lnTo>
                      <a:pt x="306" y="96"/>
                    </a:lnTo>
                    <a:lnTo>
                      <a:pt x="294" y="67"/>
                    </a:lnTo>
                    <a:lnTo>
                      <a:pt x="294" y="149"/>
                    </a:lnTo>
                    <a:close/>
                    <a:moveTo>
                      <a:pt x="247" y="339"/>
                    </a:moveTo>
                    <a:lnTo>
                      <a:pt x="259" y="339"/>
                    </a:lnTo>
                    <a:lnTo>
                      <a:pt x="273" y="312"/>
                    </a:lnTo>
                    <a:lnTo>
                      <a:pt x="278" y="286"/>
                    </a:lnTo>
                    <a:lnTo>
                      <a:pt x="290" y="322"/>
                    </a:lnTo>
                    <a:lnTo>
                      <a:pt x="270" y="351"/>
                    </a:lnTo>
                    <a:lnTo>
                      <a:pt x="266" y="365"/>
                    </a:lnTo>
                    <a:lnTo>
                      <a:pt x="270" y="377"/>
                    </a:lnTo>
                    <a:lnTo>
                      <a:pt x="282" y="372"/>
                    </a:lnTo>
                    <a:lnTo>
                      <a:pt x="292" y="365"/>
                    </a:lnTo>
                    <a:lnTo>
                      <a:pt x="294" y="358"/>
                    </a:lnTo>
                    <a:lnTo>
                      <a:pt x="294" y="279"/>
                    </a:lnTo>
                    <a:lnTo>
                      <a:pt x="292" y="279"/>
                    </a:lnTo>
                    <a:lnTo>
                      <a:pt x="294" y="279"/>
                    </a:lnTo>
                    <a:lnTo>
                      <a:pt x="294" y="257"/>
                    </a:lnTo>
                    <a:lnTo>
                      <a:pt x="290" y="259"/>
                    </a:lnTo>
                    <a:lnTo>
                      <a:pt x="290" y="250"/>
                    </a:lnTo>
                    <a:lnTo>
                      <a:pt x="282" y="245"/>
                    </a:lnTo>
                    <a:lnTo>
                      <a:pt x="280" y="247"/>
                    </a:lnTo>
                    <a:lnTo>
                      <a:pt x="270" y="228"/>
                    </a:lnTo>
                    <a:lnTo>
                      <a:pt x="292" y="228"/>
                    </a:lnTo>
                    <a:lnTo>
                      <a:pt x="292" y="228"/>
                    </a:lnTo>
                    <a:lnTo>
                      <a:pt x="294" y="230"/>
                    </a:lnTo>
                    <a:lnTo>
                      <a:pt x="294" y="199"/>
                    </a:lnTo>
                    <a:lnTo>
                      <a:pt x="292" y="199"/>
                    </a:lnTo>
                    <a:lnTo>
                      <a:pt x="292" y="202"/>
                    </a:lnTo>
                    <a:lnTo>
                      <a:pt x="270" y="202"/>
                    </a:lnTo>
                    <a:lnTo>
                      <a:pt x="282" y="180"/>
                    </a:lnTo>
                    <a:lnTo>
                      <a:pt x="282" y="182"/>
                    </a:lnTo>
                    <a:lnTo>
                      <a:pt x="292" y="178"/>
                    </a:lnTo>
                    <a:lnTo>
                      <a:pt x="292" y="170"/>
                    </a:lnTo>
                    <a:lnTo>
                      <a:pt x="294" y="170"/>
                    </a:lnTo>
                    <a:lnTo>
                      <a:pt x="294" y="151"/>
                    </a:lnTo>
                    <a:lnTo>
                      <a:pt x="292" y="151"/>
                    </a:lnTo>
                    <a:lnTo>
                      <a:pt x="294" y="149"/>
                    </a:lnTo>
                    <a:lnTo>
                      <a:pt x="294" y="67"/>
                    </a:lnTo>
                    <a:lnTo>
                      <a:pt x="292" y="65"/>
                    </a:lnTo>
                    <a:lnTo>
                      <a:pt x="282" y="55"/>
                    </a:lnTo>
                    <a:lnTo>
                      <a:pt x="270" y="50"/>
                    </a:lnTo>
                    <a:lnTo>
                      <a:pt x="268" y="62"/>
                    </a:lnTo>
                    <a:lnTo>
                      <a:pt x="270" y="77"/>
                    </a:lnTo>
                    <a:lnTo>
                      <a:pt x="292" y="106"/>
                    </a:lnTo>
                    <a:lnTo>
                      <a:pt x="280" y="144"/>
                    </a:lnTo>
                    <a:lnTo>
                      <a:pt x="273" y="115"/>
                    </a:lnTo>
                    <a:lnTo>
                      <a:pt x="259" y="91"/>
                    </a:lnTo>
                    <a:lnTo>
                      <a:pt x="256" y="91"/>
                    </a:lnTo>
                    <a:lnTo>
                      <a:pt x="254" y="89"/>
                    </a:lnTo>
                    <a:lnTo>
                      <a:pt x="247" y="89"/>
                    </a:lnTo>
                    <a:lnTo>
                      <a:pt x="247" y="134"/>
                    </a:lnTo>
                    <a:lnTo>
                      <a:pt x="247" y="132"/>
                    </a:lnTo>
                    <a:lnTo>
                      <a:pt x="263" y="154"/>
                    </a:lnTo>
                    <a:lnTo>
                      <a:pt x="256" y="158"/>
                    </a:lnTo>
                    <a:lnTo>
                      <a:pt x="256" y="168"/>
                    </a:lnTo>
                    <a:lnTo>
                      <a:pt x="259" y="168"/>
                    </a:lnTo>
                    <a:lnTo>
                      <a:pt x="247" y="187"/>
                    </a:lnTo>
                    <a:lnTo>
                      <a:pt x="247" y="185"/>
                    </a:lnTo>
                    <a:lnTo>
                      <a:pt x="247" y="240"/>
                    </a:lnTo>
                    <a:lnTo>
                      <a:pt x="259" y="262"/>
                    </a:lnTo>
                    <a:lnTo>
                      <a:pt x="256" y="262"/>
                    </a:lnTo>
                    <a:lnTo>
                      <a:pt x="256" y="271"/>
                    </a:lnTo>
                    <a:lnTo>
                      <a:pt x="263" y="274"/>
                    </a:lnTo>
                    <a:lnTo>
                      <a:pt x="247" y="295"/>
                    </a:lnTo>
                    <a:lnTo>
                      <a:pt x="247" y="295"/>
                    </a:lnTo>
                    <a:lnTo>
                      <a:pt x="247" y="339"/>
                    </a:lnTo>
                    <a:close/>
                    <a:moveTo>
                      <a:pt x="201" y="279"/>
                    </a:moveTo>
                    <a:lnTo>
                      <a:pt x="201" y="276"/>
                    </a:lnTo>
                    <a:lnTo>
                      <a:pt x="201" y="279"/>
                    </a:lnTo>
                    <a:lnTo>
                      <a:pt x="201" y="360"/>
                    </a:lnTo>
                    <a:lnTo>
                      <a:pt x="201" y="363"/>
                    </a:lnTo>
                    <a:lnTo>
                      <a:pt x="211" y="372"/>
                    </a:lnTo>
                    <a:lnTo>
                      <a:pt x="223" y="377"/>
                    </a:lnTo>
                    <a:lnTo>
                      <a:pt x="227" y="365"/>
                    </a:lnTo>
                    <a:lnTo>
                      <a:pt x="223" y="351"/>
                    </a:lnTo>
                    <a:lnTo>
                      <a:pt x="203" y="322"/>
                    </a:lnTo>
                    <a:lnTo>
                      <a:pt x="215" y="286"/>
                    </a:lnTo>
                    <a:lnTo>
                      <a:pt x="220" y="312"/>
                    </a:lnTo>
                    <a:lnTo>
                      <a:pt x="235" y="336"/>
                    </a:lnTo>
                    <a:lnTo>
                      <a:pt x="239" y="336"/>
                    </a:lnTo>
                    <a:lnTo>
                      <a:pt x="239" y="339"/>
                    </a:lnTo>
                    <a:lnTo>
                      <a:pt x="247" y="339"/>
                    </a:lnTo>
                    <a:lnTo>
                      <a:pt x="247" y="295"/>
                    </a:lnTo>
                    <a:lnTo>
                      <a:pt x="230" y="274"/>
                    </a:lnTo>
                    <a:lnTo>
                      <a:pt x="237" y="269"/>
                    </a:lnTo>
                    <a:lnTo>
                      <a:pt x="237" y="262"/>
                    </a:lnTo>
                    <a:lnTo>
                      <a:pt x="235" y="259"/>
                    </a:lnTo>
                    <a:lnTo>
                      <a:pt x="247" y="240"/>
                    </a:lnTo>
                    <a:lnTo>
                      <a:pt x="247" y="240"/>
                    </a:lnTo>
                    <a:lnTo>
                      <a:pt x="247" y="185"/>
                    </a:lnTo>
                    <a:lnTo>
                      <a:pt x="235" y="168"/>
                    </a:lnTo>
                    <a:lnTo>
                      <a:pt x="237" y="166"/>
                    </a:lnTo>
                    <a:lnTo>
                      <a:pt x="237" y="158"/>
                    </a:lnTo>
                    <a:lnTo>
                      <a:pt x="230" y="154"/>
                    </a:lnTo>
                    <a:lnTo>
                      <a:pt x="247" y="134"/>
                    </a:lnTo>
                    <a:lnTo>
                      <a:pt x="247" y="89"/>
                    </a:lnTo>
                    <a:lnTo>
                      <a:pt x="235" y="89"/>
                    </a:lnTo>
                    <a:lnTo>
                      <a:pt x="220" y="115"/>
                    </a:lnTo>
                    <a:lnTo>
                      <a:pt x="215" y="142"/>
                    </a:lnTo>
                    <a:lnTo>
                      <a:pt x="203" y="106"/>
                    </a:lnTo>
                    <a:lnTo>
                      <a:pt x="225" y="77"/>
                    </a:lnTo>
                    <a:lnTo>
                      <a:pt x="227" y="62"/>
                    </a:lnTo>
                    <a:lnTo>
                      <a:pt x="223" y="50"/>
                    </a:lnTo>
                    <a:lnTo>
                      <a:pt x="213" y="55"/>
                    </a:lnTo>
                    <a:lnTo>
                      <a:pt x="203" y="65"/>
                    </a:lnTo>
                    <a:lnTo>
                      <a:pt x="201" y="70"/>
                    </a:lnTo>
                    <a:lnTo>
                      <a:pt x="201" y="149"/>
                    </a:lnTo>
                    <a:lnTo>
                      <a:pt x="201" y="151"/>
                    </a:lnTo>
                    <a:lnTo>
                      <a:pt x="201" y="149"/>
                    </a:lnTo>
                    <a:lnTo>
                      <a:pt x="201" y="170"/>
                    </a:lnTo>
                    <a:lnTo>
                      <a:pt x="203" y="168"/>
                    </a:lnTo>
                    <a:lnTo>
                      <a:pt x="203" y="178"/>
                    </a:lnTo>
                    <a:lnTo>
                      <a:pt x="211" y="182"/>
                    </a:lnTo>
                    <a:lnTo>
                      <a:pt x="213" y="180"/>
                    </a:lnTo>
                    <a:lnTo>
                      <a:pt x="223" y="199"/>
                    </a:lnTo>
                    <a:lnTo>
                      <a:pt x="201" y="202"/>
                    </a:lnTo>
                    <a:lnTo>
                      <a:pt x="201" y="199"/>
                    </a:lnTo>
                    <a:lnTo>
                      <a:pt x="201" y="197"/>
                    </a:lnTo>
                    <a:lnTo>
                      <a:pt x="201" y="230"/>
                    </a:lnTo>
                    <a:lnTo>
                      <a:pt x="201" y="228"/>
                    </a:lnTo>
                    <a:lnTo>
                      <a:pt x="201" y="226"/>
                    </a:lnTo>
                    <a:lnTo>
                      <a:pt x="223" y="228"/>
                    </a:lnTo>
                    <a:lnTo>
                      <a:pt x="213" y="247"/>
                    </a:lnTo>
                    <a:lnTo>
                      <a:pt x="211" y="245"/>
                    </a:lnTo>
                    <a:lnTo>
                      <a:pt x="203" y="250"/>
                    </a:lnTo>
                    <a:lnTo>
                      <a:pt x="203" y="259"/>
                    </a:lnTo>
                    <a:lnTo>
                      <a:pt x="201" y="257"/>
                    </a:lnTo>
                    <a:lnTo>
                      <a:pt x="201" y="279"/>
                    </a:lnTo>
                    <a:close/>
                    <a:moveTo>
                      <a:pt x="0" y="214"/>
                    </a:moveTo>
                    <a:lnTo>
                      <a:pt x="12" y="223"/>
                    </a:lnTo>
                    <a:lnTo>
                      <a:pt x="52" y="228"/>
                    </a:lnTo>
                    <a:lnTo>
                      <a:pt x="98" y="221"/>
                    </a:lnTo>
                    <a:lnTo>
                      <a:pt x="115" y="221"/>
                    </a:lnTo>
                    <a:lnTo>
                      <a:pt x="96" y="250"/>
                    </a:lnTo>
                    <a:lnTo>
                      <a:pt x="93" y="262"/>
                    </a:lnTo>
                    <a:lnTo>
                      <a:pt x="96" y="274"/>
                    </a:lnTo>
                    <a:lnTo>
                      <a:pt x="105" y="271"/>
                    </a:lnTo>
                    <a:lnTo>
                      <a:pt x="117" y="262"/>
                    </a:lnTo>
                    <a:lnTo>
                      <a:pt x="131" y="228"/>
                    </a:lnTo>
                    <a:lnTo>
                      <a:pt x="170" y="221"/>
                    </a:lnTo>
                    <a:lnTo>
                      <a:pt x="148" y="240"/>
                    </a:lnTo>
                    <a:lnTo>
                      <a:pt x="134" y="264"/>
                    </a:lnTo>
                    <a:lnTo>
                      <a:pt x="136" y="269"/>
                    </a:lnTo>
                    <a:lnTo>
                      <a:pt x="136" y="269"/>
                    </a:lnTo>
                    <a:lnTo>
                      <a:pt x="146" y="286"/>
                    </a:lnTo>
                    <a:lnTo>
                      <a:pt x="175" y="286"/>
                    </a:lnTo>
                    <a:lnTo>
                      <a:pt x="201" y="279"/>
                    </a:lnTo>
                    <a:lnTo>
                      <a:pt x="201" y="257"/>
                    </a:lnTo>
                    <a:lnTo>
                      <a:pt x="177" y="254"/>
                    </a:lnTo>
                    <a:lnTo>
                      <a:pt x="187" y="228"/>
                    </a:lnTo>
                    <a:lnTo>
                      <a:pt x="194" y="233"/>
                    </a:lnTo>
                    <a:lnTo>
                      <a:pt x="201" y="230"/>
                    </a:lnTo>
                    <a:lnTo>
                      <a:pt x="201" y="197"/>
                    </a:lnTo>
                    <a:lnTo>
                      <a:pt x="194" y="194"/>
                    </a:lnTo>
                    <a:lnTo>
                      <a:pt x="187" y="197"/>
                    </a:lnTo>
                    <a:lnTo>
                      <a:pt x="177" y="173"/>
                    </a:lnTo>
                    <a:lnTo>
                      <a:pt x="201" y="170"/>
                    </a:lnTo>
                    <a:lnTo>
                      <a:pt x="201" y="149"/>
                    </a:lnTo>
                    <a:lnTo>
                      <a:pt x="175" y="142"/>
                    </a:lnTo>
                    <a:lnTo>
                      <a:pt x="146" y="142"/>
                    </a:lnTo>
                    <a:lnTo>
                      <a:pt x="143" y="144"/>
                    </a:lnTo>
                    <a:lnTo>
                      <a:pt x="143" y="144"/>
                    </a:lnTo>
                    <a:lnTo>
                      <a:pt x="134" y="163"/>
                    </a:lnTo>
                    <a:lnTo>
                      <a:pt x="148" y="187"/>
                    </a:lnTo>
                    <a:lnTo>
                      <a:pt x="170" y="206"/>
                    </a:lnTo>
                    <a:lnTo>
                      <a:pt x="131" y="197"/>
                    </a:lnTo>
                    <a:lnTo>
                      <a:pt x="117" y="166"/>
                    </a:lnTo>
                    <a:lnTo>
                      <a:pt x="105" y="154"/>
                    </a:lnTo>
                    <a:lnTo>
                      <a:pt x="96" y="154"/>
                    </a:lnTo>
                    <a:lnTo>
                      <a:pt x="93" y="166"/>
                    </a:lnTo>
                    <a:lnTo>
                      <a:pt x="96" y="178"/>
                    </a:lnTo>
                    <a:lnTo>
                      <a:pt x="115" y="206"/>
                    </a:lnTo>
                    <a:lnTo>
                      <a:pt x="98" y="206"/>
                    </a:lnTo>
                    <a:lnTo>
                      <a:pt x="52" y="199"/>
                    </a:lnTo>
                    <a:lnTo>
                      <a:pt x="12" y="20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201" y="279"/>
                    </a:moveTo>
                    <a:lnTo>
                      <a:pt x="201" y="360"/>
                    </a:lnTo>
                    <a:lnTo>
                      <a:pt x="187" y="331"/>
                    </a:lnTo>
                    <a:lnTo>
                      <a:pt x="179" y="346"/>
                    </a:lnTo>
                    <a:lnTo>
                      <a:pt x="163" y="389"/>
                    </a:lnTo>
                    <a:lnTo>
                      <a:pt x="139" y="423"/>
                    </a:lnTo>
                    <a:lnTo>
                      <a:pt x="122" y="427"/>
                    </a:lnTo>
                    <a:lnTo>
                      <a:pt x="122" y="413"/>
                    </a:lnTo>
                    <a:lnTo>
                      <a:pt x="136" y="375"/>
                    </a:lnTo>
                    <a:lnTo>
                      <a:pt x="167" y="339"/>
                    </a:lnTo>
                    <a:lnTo>
                      <a:pt x="175" y="324"/>
                    </a:lnTo>
                    <a:lnTo>
                      <a:pt x="139" y="327"/>
                    </a:lnTo>
                    <a:lnTo>
                      <a:pt x="127" y="324"/>
                    </a:lnTo>
                    <a:lnTo>
                      <a:pt x="117" y="315"/>
                    </a:lnTo>
                    <a:lnTo>
                      <a:pt x="124" y="307"/>
                    </a:lnTo>
                    <a:lnTo>
                      <a:pt x="141" y="303"/>
                    </a:lnTo>
                    <a:lnTo>
                      <a:pt x="175" y="305"/>
                    </a:lnTo>
                    <a:lnTo>
                      <a:pt x="201" y="279"/>
                    </a:lnTo>
                    <a:lnTo>
                      <a:pt x="201" y="279"/>
                    </a:lnTo>
                    <a:close/>
                    <a:moveTo>
                      <a:pt x="201" y="70"/>
                    </a:moveTo>
                    <a:lnTo>
                      <a:pt x="201" y="149"/>
                    </a:lnTo>
                    <a:lnTo>
                      <a:pt x="177" y="122"/>
                    </a:lnTo>
                    <a:lnTo>
                      <a:pt x="141" y="125"/>
                    </a:lnTo>
                    <a:lnTo>
                      <a:pt x="127" y="120"/>
                    </a:lnTo>
                    <a:lnTo>
                      <a:pt x="119" y="113"/>
                    </a:lnTo>
                    <a:lnTo>
                      <a:pt x="129" y="103"/>
                    </a:lnTo>
                    <a:lnTo>
                      <a:pt x="141" y="101"/>
                    </a:lnTo>
                    <a:lnTo>
                      <a:pt x="175" y="103"/>
                    </a:lnTo>
                    <a:lnTo>
                      <a:pt x="167" y="89"/>
                    </a:lnTo>
                    <a:lnTo>
                      <a:pt x="139" y="53"/>
                    </a:lnTo>
                    <a:lnTo>
                      <a:pt x="122" y="14"/>
                    </a:lnTo>
                    <a:lnTo>
                      <a:pt x="124" y="0"/>
                    </a:lnTo>
                    <a:lnTo>
                      <a:pt x="139" y="5"/>
                    </a:lnTo>
                    <a:lnTo>
                      <a:pt x="163" y="38"/>
                    </a:lnTo>
                    <a:lnTo>
                      <a:pt x="179" y="82"/>
                    </a:lnTo>
                    <a:lnTo>
                      <a:pt x="187" y="96"/>
                    </a:lnTo>
                    <a:lnTo>
                      <a:pt x="201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40" name="Group 139">
              <a:extLst>
                <a:ext uri="{FF2B5EF4-FFF2-40B4-BE49-F238E27FC236}">
                  <a16:creationId xmlns="" xmlns:a16="http://schemas.microsoft.com/office/drawing/2014/main" id="{8F3DDE3C-68BD-481B-AFAE-55764D3F6E4E}"/>
                </a:ext>
              </a:extLst>
            </p:cNvPr>
            <p:cNvGrpSpPr/>
            <p:nvPr/>
          </p:nvGrpSpPr>
          <p:grpSpPr>
            <a:xfrm>
              <a:off x="3044606" y="2542573"/>
              <a:ext cx="5645588" cy="603800"/>
              <a:chOff x="1758605" y="1148800"/>
              <a:chExt cx="5645588" cy="603800"/>
            </a:xfrm>
            <a:grpFill/>
          </p:grpSpPr>
          <p:sp>
            <p:nvSpPr>
              <p:cNvPr id="141" name="Freeform 22">
                <a:extLst>
                  <a:ext uri="{FF2B5EF4-FFF2-40B4-BE49-F238E27FC236}">
                    <a16:creationId xmlns="" xmlns:a16="http://schemas.microsoft.com/office/drawing/2014/main" id="{F044F98A-CBC8-4164-AD2E-D577EB1EA1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5860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22">
                <a:extLst>
                  <a:ext uri="{FF2B5EF4-FFF2-40B4-BE49-F238E27FC236}">
                    <a16:creationId xmlns="" xmlns:a16="http://schemas.microsoft.com/office/drawing/2014/main" id="{D9839BF2-593D-442A-B4F6-5E35E7BFF6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57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22">
                <a:extLst>
                  <a:ext uri="{FF2B5EF4-FFF2-40B4-BE49-F238E27FC236}">
                    <a16:creationId xmlns="" xmlns:a16="http://schemas.microsoft.com/office/drawing/2014/main" id="{E741795A-3CEE-4D0A-84A0-9D72723B08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0454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22">
                <a:extLst>
                  <a:ext uri="{FF2B5EF4-FFF2-40B4-BE49-F238E27FC236}">
                    <a16:creationId xmlns="" xmlns:a16="http://schemas.microsoft.com/office/drawing/2014/main" id="{504C2533-8459-4185-95B0-250724F599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751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22">
                <a:extLst>
                  <a:ext uri="{FF2B5EF4-FFF2-40B4-BE49-F238E27FC236}">
                    <a16:creationId xmlns="" xmlns:a16="http://schemas.microsoft.com/office/drawing/2014/main" id="{3315B172-05CD-4960-8143-B306B81A6D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048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22">
                <a:extLst>
                  <a:ext uri="{FF2B5EF4-FFF2-40B4-BE49-F238E27FC236}">
                    <a16:creationId xmlns="" xmlns:a16="http://schemas.microsoft.com/office/drawing/2014/main" id="{02040C3B-05C3-4C11-A4CC-F7A3BC4050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3455" y="1148800"/>
                <a:ext cx="530738" cy="603800"/>
              </a:xfrm>
              <a:custGeom>
                <a:avLst/>
                <a:gdLst>
                  <a:gd name="T0" fmla="*/ 149 w 160"/>
                  <a:gd name="T1" fmla="*/ 127 h 182"/>
                  <a:gd name="T2" fmla="*/ 158 w 160"/>
                  <a:gd name="T3" fmla="*/ 121 h 182"/>
                  <a:gd name="T4" fmla="*/ 133 w 160"/>
                  <a:gd name="T5" fmla="*/ 118 h 182"/>
                  <a:gd name="T6" fmla="*/ 147 w 160"/>
                  <a:gd name="T7" fmla="*/ 109 h 182"/>
                  <a:gd name="T8" fmla="*/ 101 w 160"/>
                  <a:gd name="T9" fmla="*/ 94 h 182"/>
                  <a:gd name="T10" fmla="*/ 101 w 160"/>
                  <a:gd name="T11" fmla="*/ 88 h 182"/>
                  <a:gd name="T12" fmla="*/ 153 w 160"/>
                  <a:gd name="T13" fmla="*/ 73 h 182"/>
                  <a:gd name="T14" fmla="*/ 135 w 160"/>
                  <a:gd name="T15" fmla="*/ 62 h 182"/>
                  <a:gd name="T16" fmla="*/ 159 w 160"/>
                  <a:gd name="T17" fmla="*/ 58 h 182"/>
                  <a:gd name="T18" fmla="*/ 151 w 160"/>
                  <a:gd name="T19" fmla="*/ 54 h 182"/>
                  <a:gd name="T20" fmla="*/ 146 w 160"/>
                  <a:gd name="T21" fmla="*/ 49 h 182"/>
                  <a:gd name="T22" fmla="*/ 147 w 160"/>
                  <a:gd name="T23" fmla="*/ 37 h 182"/>
                  <a:gd name="T24" fmla="*/ 131 w 160"/>
                  <a:gd name="T25" fmla="*/ 58 h 182"/>
                  <a:gd name="T26" fmla="*/ 131 w 160"/>
                  <a:gd name="T27" fmla="*/ 35 h 182"/>
                  <a:gd name="T28" fmla="*/ 93 w 160"/>
                  <a:gd name="T29" fmla="*/ 74 h 182"/>
                  <a:gd name="T30" fmla="*/ 88 w 160"/>
                  <a:gd name="T31" fmla="*/ 71 h 182"/>
                  <a:gd name="T32" fmla="*/ 96 w 160"/>
                  <a:gd name="T33" fmla="*/ 23 h 182"/>
                  <a:gd name="T34" fmla="*/ 98 w 160"/>
                  <a:gd name="T35" fmla="*/ 15 h 182"/>
                  <a:gd name="T36" fmla="*/ 92 w 160"/>
                  <a:gd name="T37" fmla="*/ 6 h 182"/>
                  <a:gd name="T38" fmla="*/ 82 w 160"/>
                  <a:gd name="T39" fmla="*/ 0 h 182"/>
                  <a:gd name="T40" fmla="*/ 77 w 160"/>
                  <a:gd name="T41" fmla="*/ 11 h 182"/>
                  <a:gd name="T42" fmla="*/ 77 w 160"/>
                  <a:gd name="T43" fmla="*/ 15 h 182"/>
                  <a:gd name="T44" fmla="*/ 60 w 160"/>
                  <a:gd name="T45" fmla="*/ 15 h 182"/>
                  <a:gd name="T46" fmla="*/ 77 w 160"/>
                  <a:gd name="T47" fmla="*/ 35 h 182"/>
                  <a:gd name="T48" fmla="*/ 66 w 160"/>
                  <a:gd name="T49" fmla="*/ 63 h 182"/>
                  <a:gd name="T50" fmla="*/ 34 w 160"/>
                  <a:gd name="T51" fmla="*/ 61 h 182"/>
                  <a:gd name="T52" fmla="*/ 26 w 160"/>
                  <a:gd name="T53" fmla="*/ 35 h 182"/>
                  <a:gd name="T54" fmla="*/ 14 w 160"/>
                  <a:gd name="T55" fmla="*/ 38 h 182"/>
                  <a:gd name="T56" fmla="*/ 4 w 160"/>
                  <a:gd name="T57" fmla="*/ 43 h 182"/>
                  <a:gd name="T58" fmla="*/ 9 w 160"/>
                  <a:gd name="T59" fmla="*/ 53 h 182"/>
                  <a:gd name="T60" fmla="*/ 13 w 160"/>
                  <a:gd name="T61" fmla="*/ 55 h 182"/>
                  <a:gd name="T62" fmla="*/ 6 w 160"/>
                  <a:gd name="T63" fmla="*/ 69 h 182"/>
                  <a:gd name="T64" fmla="*/ 30 w 160"/>
                  <a:gd name="T65" fmla="*/ 65 h 182"/>
                  <a:gd name="T66" fmla="*/ 49 w 160"/>
                  <a:gd name="T67" fmla="*/ 88 h 182"/>
                  <a:gd name="T68" fmla="*/ 49 w 160"/>
                  <a:gd name="T69" fmla="*/ 94 h 182"/>
                  <a:gd name="T70" fmla="*/ 32 w 160"/>
                  <a:gd name="T71" fmla="*/ 115 h 182"/>
                  <a:gd name="T72" fmla="*/ 11 w 160"/>
                  <a:gd name="T73" fmla="*/ 113 h 182"/>
                  <a:gd name="T74" fmla="*/ 1 w 160"/>
                  <a:gd name="T75" fmla="*/ 121 h 182"/>
                  <a:gd name="T76" fmla="*/ 11 w 160"/>
                  <a:gd name="T77" fmla="*/ 127 h 182"/>
                  <a:gd name="T78" fmla="*/ 13 w 160"/>
                  <a:gd name="T79" fmla="*/ 133 h 182"/>
                  <a:gd name="T80" fmla="*/ 13 w 160"/>
                  <a:gd name="T81" fmla="*/ 142 h 182"/>
                  <a:gd name="T82" fmla="*/ 25 w 160"/>
                  <a:gd name="T83" fmla="*/ 144 h 182"/>
                  <a:gd name="T84" fmla="*/ 34 w 160"/>
                  <a:gd name="T85" fmla="*/ 121 h 182"/>
                  <a:gd name="T86" fmla="*/ 62 w 160"/>
                  <a:gd name="T87" fmla="*/ 117 h 182"/>
                  <a:gd name="T88" fmla="*/ 77 w 160"/>
                  <a:gd name="T89" fmla="*/ 111 h 182"/>
                  <a:gd name="T90" fmla="*/ 58 w 160"/>
                  <a:gd name="T91" fmla="*/ 162 h 182"/>
                  <a:gd name="T92" fmla="*/ 77 w 160"/>
                  <a:gd name="T93" fmla="*/ 151 h 182"/>
                  <a:gd name="T94" fmla="*/ 69 w 160"/>
                  <a:gd name="T95" fmla="*/ 175 h 182"/>
                  <a:gd name="T96" fmla="*/ 78 w 160"/>
                  <a:gd name="T97" fmla="*/ 182 h 182"/>
                  <a:gd name="T98" fmla="*/ 91 w 160"/>
                  <a:gd name="T99" fmla="*/ 175 h 182"/>
                  <a:gd name="T100" fmla="*/ 83 w 160"/>
                  <a:gd name="T101" fmla="*/ 151 h 182"/>
                  <a:gd name="T102" fmla="*/ 102 w 160"/>
                  <a:gd name="T103" fmla="*/ 162 h 182"/>
                  <a:gd name="T104" fmla="*/ 83 w 160"/>
                  <a:gd name="T105" fmla="*/ 111 h 182"/>
                  <a:gd name="T106" fmla="*/ 98 w 160"/>
                  <a:gd name="T107" fmla="*/ 117 h 182"/>
                  <a:gd name="T108" fmla="*/ 104 w 160"/>
                  <a:gd name="T109" fmla="*/ 108 h 182"/>
                  <a:gd name="T110" fmla="*/ 132 w 160"/>
                  <a:gd name="T111" fmla="*/ 145 h 182"/>
                  <a:gd name="T112" fmla="*/ 143 w 160"/>
                  <a:gd name="T113" fmla="*/ 131 h 182"/>
                  <a:gd name="T114" fmla="*/ 148 w 160"/>
                  <a:gd name="T115" fmla="*/ 142 h 182"/>
                  <a:gd name="T116" fmla="*/ 160 w 160"/>
                  <a:gd name="T117" fmla="*/ 135 h 182"/>
                  <a:gd name="T118" fmla="*/ 66 w 160"/>
                  <a:gd name="T119" fmla="*/ 8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0" h="182">
                    <a:moveTo>
                      <a:pt x="159" y="133"/>
                    </a:moveTo>
                    <a:cubicBezTo>
                      <a:pt x="156" y="131"/>
                      <a:pt x="153" y="129"/>
                      <a:pt x="149" y="127"/>
                    </a:cubicBezTo>
                    <a:cubicBezTo>
                      <a:pt x="149" y="127"/>
                      <a:pt x="149" y="127"/>
                      <a:pt x="149" y="127"/>
                    </a:cubicBezTo>
                    <a:cubicBezTo>
                      <a:pt x="152" y="126"/>
                      <a:pt x="156" y="124"/>
                      <a:pt x="159" y="123"/>
                    </a:cubicBezTo>
                    <a:cubicBezTo>
                      <a:pt x="159" y="122"/>
                      <a:pt x="159" y="122"/>
                      <a:pt x="159" y="121"/>
                    </a:cubicBezTo>
                    <a:cubicBezTo>
                      <a:pt x="159" y="121"/>
                      <a:pt x="159" y="121"/>
                      <a:pt x="158" y="121"/>
                    </a:cubicBezTo>
                    <a:cubicBezTo>
                      <a:pt x="155" y="120"/>
                      <a:pt x="149" y="126"/>
                      <a:pt x="145" y="125"/>
                    </a:cubicBezTo>
                    <a:cubicBezTo>
                      <a:pt x="141" y="123"/>
                      <a:pt x="138" y="121"/>
                      <a:pt x="134" y="118"/>
                    </a:cubicBezTo>
                    <a:cubicBezTo>
                      <a:pt x="134" y="118"/>
                      <a:pt x="133" y="118"/>
                      <a:pt x="133" y="118"/>
                    </a:cubicBezTo>
                    <a:cubicBezTo>
                      <a:pt x="138" y="117"/>
                      <a:pt x="152" y="113"/>
                      <a:pt x="154" y="110"/>
                    </a:cubicBezTo>
                    <a:cubicBezTo>
                      <a:pt x="154" y="108"/>
                      <a:pt x="154" y="107"/>
                      <a:pt x="153" y="107"/>
                    </a:cubicBezTo>
                    <a:cubicBezTo>
                      <a:pt x="151" y="106"/>
                      <a:pt x="148" y="108"/>
                      <a:pt x="147" y="109"/>
                    </a:cubicBezTo>
                    <a:cubicBezTo>
                      <a:pt x="141" y="111"/>
                      <a:pt x="133" y="112"/>
                      <a:pt x="128" y="115"/>
                    </a:cubicBezTo>
                    <a:cubicBezTo>
                      <a:pt x="119" y="110"/>
                      <a:pt x="109" y="104"/>
                      <a:pt x="100" y="99"/>
                    </a:cubicBezTo>
                    <a:cubicBezTo>
                      <a:pt x="100" y="97"/>
                      <a:pt x="100" y="96"/>
                      <a:pt x="101" y="94"/>
                    </a:cubicBezTo>
                    <a:cubicBezTo>
                      <a:pt x="102" y="93"/>
                      <a:pt x="109" y="94"/>
                      <a:pt x="111" y="93"/>
                    </a:cubicBezTo>
                    <a:cubicBezTo>
                      <a:pt x="112" y="91"/>
                      <a:pt x="112" y="89"/>
                      <a:pt x="111" y="88"/>
                    </a:cubicBezTo>
                    <a:cubicBezTo>
                      <a:pt x="108" y="87"/>
                      <a:pt x="104" y="88"/>
                      <a:pt x="101" y="88"/>
                    </a:cubicBezTo>
                    <a:cubicBezTo>
                      <a:pt x="100" y="86"/>
                      <a:pt x="100" y="85"/>
                      <a:pt x="99" y="83"/>
                    </a:cubicBezTo>
                    <a:cubicBezTo>
                      <a:pt x="110" y="77"/>
                      <a:pt x="120" y="71"/>
                      <a:pt x="130" y="66"/>
                    </a:cubicBezTo>
                    <a:cubicBezTo>
                      <a:pt x="133" y="67"/>
                      <a:pt x="151" y="73"/>
                      <a:pt x="153" y="73"/>
                    </a:cubicBezTo>
                    <a:cubicBezTo>
                      <a:pt x="154" y="72"/>
                      <a:pt x="155" y="71"/>
                      <a:pt x="154" y="70"/>
                    </a:cubicBezTo>
                    <a:cubicBezTo>
                      <a:pt x="153" y="68"/>
                      <a:pt x="138" y="63"/>
                      <a:pt x="135" y="63"/>
                    </a:cubicBezTo>
                    <a:cubicBezTo>
                      <a:pt x="135" y="62"/>
                      <a:pt x="135" y="62"/>
                      <a:pt x="135" y="62"/>
                    </a:cubicBezTo>
                    <a:cubicBezTo>
                      <a:pt x="137" y="61"/>
                      <a:pt x="147" y="55"/>
                      <a:pt x="148" y="55"/>
                    </a:cubicBezTo>
                    <a:cubicBezTo>
                      <a:pt x="151" y="56"/>
                      <a:pt x="155" y="59"/>
                      <a:pt x="158" y="59"/>
                    </a:cubicBezTo>
                    <a:cubicBezTo>
                      <a:pt x="159" y="59"/>
                      <a:pt x="159" y="58"/>
                      <a:pt x="159" y="58"/>
                    </a:cubicBezTo>
                    <a:cubicBezTo>
                      <a:pt x="159" y="58"/>
                      <a:pt x="159" y="57"/>
                      <a:pt x="159" y="57"/>
                    </a:cubicBezTo>
                    <a:cubicBezTo>
                      <a:pt x="156" y="56"/>
                      <a:pt x="154" y="55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2"/>
                      <a:pt x="158" y="51"/>
                      <a:pt x="160" y="48"/>
                    </a:cubicBezTo>
                    <a:cubicBezTo>
                      <a:pt x="160" y="46"/>
                      <a:pt x="158" y="44"/>
                      <a:pt x="157" y="43"/>
                    </a:cubicBezTo>
                    <a:cubicBezTo>
                      <a:pt x="153" y="44"/>
                      <a:pt x="150" y="47"/>
                      <a:pt x="146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7" y="45"/>
                      <a:pt x="148" y="42"/>
                      <a:pt x="148" y="38"/>
                    </a:cubicBezTo>
                    <a:cubicBezTo>
                      <a:pt x="148" y="38"/>
                      <a:pt x="148" y="38"/>
                      <a:pt x="147" y="37"/>
                    </a:cubicBezTo>
                    <a:cubicBezTo>
                      <a:pt x="147" y="37"/>
                      <a:pt x="147" y="37"/>
                      <a:pt x="146" y="37"/>
                    </a:cubicBezTo>
                    <a:cubicBezTo>
                      <a:pt x="145" y="38"/>
                      <a:pt x="143" y="49"/>
                      <a:pt x="143" y="51"/>
                    </a:cubicBezTo>
                    <a:cubicBezTo>
                      <a:pt x="139" y="53"/>
                      <a:pt x="135" y="56"/>
                      <a:pt x="131" y="58"/>
                    </a:cubicBezTo>
                    <a:cubicBezTo>
                      <a:pt x="132" y="51"/>
                      <a:pt x="134" y="43"/>
                      <a:pt x="135" y="36"/>
                    </a:cubicBezTo>
                    <a:cubicBezTo>
                      <a:pt x="135" y="36"/>
                      <a:pt x="134" y="36"/>
                      <a:pt x="134" y="35"/>
                    </a:cubicBezTo>
                    <a:cubicBezTo>
                      <a:pt x="133" y="35"/>
                      <a:pt x="132" y="35"/>
                      <a:pt x="131" y="35"/>
                    </a:cubicBezTo>
                    <a:cubicBezTo>
                      <a:pt x="130" y="36"/>
                      <a:pt x="126" y="58"/>
                      <a:pt x="126" y="61"/>
                    </a:cubicBezTo>
                    <a:cubicBezTo>
                      <a:pt x="116" y="67"/>
                      <a:pt x="106" y="72"/>
                      <a:pt x="96" y="78"/>
                    </a:cubicBezTo>
                    <a:cubicBezTo>
                      <a:pt x="95" y="77"/>
                      <a:pt x="94" y="75"/>
                      <a:pt x="93" y="74"/>
                    </a:cubicBezTo>
                    <a:cubicBezTo>
                      <a:pt x="94" y="71"/>
                      <a:pt x="98" y="68"/>
                      <a:pt x="97" y="64"/>
                    </a:cubicBezTo>
                    <a:cubicBezTo>
                      <a:pt x="96" y="63"/>
                      <a:pt x="95" y="63"/>
                      <a:pt x="94" y="62"/>
                    </a:cubicBezTo>
                    <a:cubicBezTo>
                      <a:pt x="91" y="63"/>
                      <a:pt x="88" y="69"/>
                      <a:pt x="88" y="71"/>
                    </a:cubicBezTo>
                    <a:cubicBezTo>
                      <a:pt x="87" y="71"/>
                      <a:pt x="85" y="70"/>
                      <a:pt x="83" y="70"/>
                    </a:cubicBezTo>
                    <a:cubicBezTo>
                      <a:pt x="83" y="59"/>
                      <a:pt x="83" y="47"/>
                      <a:pt x="83" y="35"/>
                    </a:cubicBezTo>
                    <a:cubicBezTo>
                      <a:pt x="88" y="31"/>
                      <a:pt x="92" y="27"/>
                      <a:pt x="96" y="23"/>
                    </a:cubicBezTo>
                    <a:cubicBezTo>
                      <a:pt x="98" y="22"/>
                      <a:pt x="100" y="20"/>
                      <a:pt x="102" y="18"/>
                    </a:cubicBezTo>
                    <a:cubicBezTo>
                      <a:pt x="102" y="17"/>
                      <a:pt x="101" y="16"/>
                      <a:pt x="100" y="16"/>
                    </a:cubicBezTo>
                    <a:cubicBezTo>
                      <a:pt x="99" y="16"/>
                      <a:pt x="99" y="16"/>
                      <a:pt x="98" y="15"/>
                    </a:cubicBezTo>
                    <a:cubicBezTo>
                      <a:pt x="93" y="20"/>
                      <a:pt x="88" y="24"/>
                      <a:pt x="83" y="29"/>
                    </a:cubicBezTo>
                    <a:cubicBezTo>
                      <a:pt x="83" y="24"/>
                      <a:pt x="83" y="19"/>
                      <a:pt x="83" y="15"/>
                    </a:cubicBezTo>
                    <a:cubicBezTo>
                      <a:pt x="86" y="12"/>
                      <a:pt x="89" y="9"/>
                      <a:pt x="92" y="6"/>
                    </a:cubicBezTo>
                    <a:cubicBezTo>
                      <a:pt x="92" y="5"/>
                      <a:pt x="92" y="5"/>
                      <a:pt x="91" y="5"/>
                    </a:cubicBezTo>
                    <a:cubicBezTo>
                      <a:pt x="90" y="5"/>
                      <a:pt x="85" y="10"/>
                      <a:pt x="83" y="11"/>
                    </a:cubicBezTo>
                    <a:cubicBezTo>
                      <a:pt x="83" y="7"/>
                      <a:pt x="84" y="2"/>
                      <a:pt x="82" y="0"/>
                    </a:cubicBezTo>
                    <a:cubicBezTo>
                      <a:pt x="81" y="0"/>
                      <a:pt x="80" y="0"/>
                      <a:pt x="79" y="0"/>
                    </a:cubicBezTo>
                    <a:cubicBezTo>
                      <a:pt x="78" y="0"/>
                      <a:pt x="78" y="0"/>
                      <a:pt x="77" y="1"/>
                    </a:cubicBezTo>
                    <a:cubicBezTo>
                      <a:pt x="77" y="4"/>
                      <a:pt x="77" y="8"/>
                      <a:pt x="77" y="11"/>
                    </a:cubicBezTo>
                    <a:cubicBezTo>
                      <a:pt x="74" y="10"/>
                      <a:pt x="72" y="6"/>
                      <a:pt x="69" y="5"/>
                    </a:cubicBezTo>
                    <a:cubicBezTo>
                      <a:pt x="68" y="5"/>
                      <a:pt x="68" y="5"/>
                      <a:pt x="67" y="6"/>
                    </a:cubicBezTo>
                    <a:cubicBezTo>
                      <a:pt x="68" y="8"/>
                      <a:pt x="75" y="14"/>
                      <a:pt x="77" y="15"/>
                    </a:cubicBezTo>
                    <a:cubicBezTo>
                      <a:pt x="77" y="20"/>
                      <a:pt x="77" y="25"/>
                      <a:pt x="77" y="29"/>
                    </a:cubicBezTo>
                    <a:cubicBezTo>
                      <a:pt x="72" y="25"/>
                      <a:pt x="66" y="20"/>
                      <a:pt x="61" y="15"/>
                    </a:cubicBezTo>
                    <a:cubicBezTo>
                      <a:pt x="61" y="15"/>
                      <a:pt x="60" y="15"/>
                      <a:pt x="60" y="15"/>
                    </a:cubicBezTo>
                    <a:cubicBezTo>
                      <a:pt x="59" y="16"/>
                      <a:pt x="58" y="17"/>
                      <a:pt x="58" y="18"/>
                    </a:cubicBezTo>
                    <a:cubicBezTo>
                      <a:pt x="58" y="20"/>
                      <a:pt x="62" y="22"/>
                      <a:pt x="63" y="23"/>
                    </a:cubicBezTo>
                    <a:cubicBezTo>
                      <a:pt x="68" y="27"/>
                      <a:pt x="72" y="31"/>
                      <a:pt x="77" y="35"/>
                    </a:cubicBezTo>
                    <a:cubicBezTo>
                      <a:pt x="77" y="47"/>
                      <a:pt x="77" y="59"/>
                      <a:pt x="77" y="70"/>
                    </a:cubicBezTo>
                    <a:cubicBezTo>
                      <a:pt x="75" y="71"/>
                      <a:pt x="74" y="71"/>
                      <a:pt x="72" y="71"/>
                    </a:cubicBezTo>
                    <a:cubicBezTo>
                      <a:pt x="71" y="69"/>
                      <a:pt x="69" y="64"/>
                      <a:pt x="66" y="63"/>
                    </a:cubicBezTo>
                    <a:cubicBezTo>
                      <a:pt x="58" y="63"/>
                      <a:pt x="65" y="72"/>
                      <a:pt x="67" y="74"/>
                    </a:cubicBezTo>
                    <a:cubicBezTo>
                      <a:pt x="66" y="76"/>
                      <a:pt x="65" y="77"/>
                      <a:pt x="64" y="78"/>
                    </a:cubicBezTo>
                    <a:cubicBezTo>
                      <a:pt x="54" y="72"/>
                      <a:pt x="44" y="67"/>
                      <a:pt x="34" y="61"/>
                    </a:cubicBezTo>
                    <a:cubicBezTo>
                      <a:pt x="33" y="55"/>
                      <a:pt x="32" y="48"/>
                      <a:pt x="30" y="42"/>
                    </a:cubicBezTo>
                    <a:cubicBezTo>
                      <a:pt x="30" y="40"/>
                      <a:pt x="30" y="36"/>
                      <a:pt x="28" y="35"/>
                    </a:cubicBezTo>
                    <a:cubicBezTo>
                      <a:pt x="27" y="35"/>
                      <a:pt x="26" y="35"/>
                      <a:pt x="26" y="35"/>
                    </a:cubicBezTo>
                    <a:cubicBezTo>
                      <a:pt x="23" y="38"/>
                      <a:pt x="28" y="53"/>
                      <a:pt x="29" y="58"/>
                    </a:cubicBezTo>
                    <a:cubicBezTo>
                      <a:pt x="25" y="55"/>
                      <a:pt x="21" y="53"/>
                      <a:pt x="17" y="51"/>
                    </a:cubicBezTo>
                    <a:cubicBezTo>
                      <a:pt x="16" y="46"/>
                      <a:pt x="15" y="42"/>
                      <a:pt x="14" y="38"/>
                    </a:cubicBezTo>
                    <a:cubicBezTo>
                      <a:pt x="13" y="37"/>
                      <a:pt x="12" y="37"/>
                      <a:pt x="12" y="38"/>
                    </a:cubicBezTo>
                    <a:cubicBezTo>
                      <a:pt x="12" y="42"/>
                      <a:pt x="13" y="45"/>
                      <a:pt x="13" y="49"/>
                    </a:cubicBezTo>
                    <a:cubicBezTo>
                      <a:pt x="10" y="47"/>
                      <a:pt x="7" y="45"/>
                      <a:pt x="4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2" y="44"/>
                      <a:pt x="0" y="46"/>
                      <a:pt x="1" y="48"/>
                    </a:cubicBezTo>
                    <a:cubicBezTo>
                      <a:pt x="2" y="50"/>
                      <a:pt x="7" y="52"/>
                      <a:pt x="9" y="53"/>
                    </a:cubicBezTo>
                    <a:cubicBezTo>
                      <a:pt x="9" y="55"/>
                      <a:pt x="0" y="54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9"/>
                      <a:pt x="10" y="56"/>
                      <a:pt x="13" y="55"/>
                    </a:cubicBezTo>
                    <a:cubicBezTo>
                      <a:pt x="16" y="57"/>
                      <a:pt x="20" y="60"/>
                      <a:pt x="24" y="62"/>
                    </a:cubicBezTo>
                    <a:cubicBezTo>
                      <a:pt x="24" y="63"/>
                      <a:pt x="21" y="63"/>
                      <a:pt x="20" y="64"/>
                    </a:cubicBezTo>
                    <a:cubicBezTo>
                      <a:pt x="17" y="65"/>
                      <a:pt x="7" y="67"/>
                      <a:pt x="6" y="69"/>
                    </a:cubicBezTo>
                    <a:cubicBezTo>
                      <a:pt x="5" y="71"/>
                      <a:pt x="6" y="72"/>
                      <a:pt x="7" y="73"/>
                    </a:cubicBezTo>
                    <a:cubicBezTo>
                      <a:pt x="10" y="73"/>
                      <a:pt x="12" y="71"/>
                      <a:pt x="14" y="71"/>
                    </a:cubicBezTo>
                    <a:cubicBezTo>
                      <a:pt x="20" y="69"/>
                      <a:pt x="25" y="67"/>
                      <a:pt x="30" y="65"/>
                    </a:cubicBezTo>
                    <a:cubicBezTo>
                      <a:pt x="40" y="71"/>
                      <a:pt x="50" y="77"/>
                      <a:pt x="60" y="83"/>
                    </a:cubicBezTo>
                    <a:cubicBezTo>
                      <a:pt x="61" y="83"/>
                      <a:pt x="60" y="86"/>
                      <a:pt x="59" y="88"/>
                    </a:cubicBezTo>
                    <a:cubicBezTo>
                      <a:pt x="58" y="89"/>
                      <a:pt x="51" y="87"/>
                      <a:pt x="49" y="88"/>
                    </a:cubicBezTo>
                    <a:cubicBezTo>
                      <a:pt x="48" y="89"/>
                      <a:pt x="48" y="89"/>
                      <a:pt x="48" y="89"/>
                    </a:cubicBezTo>
                    <a:cubicBezTo>
                      <a:pt x="48" y="90"/>
                      <a:pt x="48" y="91"/>
                      <a:pt x="48" y="93"/>
                    </a:cubicBezTo>
                    <a:cubicBezTo>
                      <a:pt x="48" y="93"/>
                      <a:pt x="48" y="93"/>
                      <a:pt x="49" y="94"/>
                    </a:cubicBezTo>
                    <a:cubicBezTo>
                      <a:pt x="52" y="94"/>
                      <a:pt x="56" y="94"/>
                      <a:pt x="59" y="94"/>
                    </a:cubicBezTo>
                    <a:cubicBezTo>
                      <a:pt x="60" y="95"/>
                      <a:pt x="60" y="97"/>
                      <a:pt x="61" y="99"/>
                    </a:cubicBezTo>
                    <a:cubicBezTo>
                      <a:pt x="51" y="104"/>
                      <a:pt x="41" y="110"/>
                      <a:pt x="32" y="115"/>
                    </a:cubicBezTo>
                    <a:cubicBezTo>
                      <a:pt x="29" y="114"/>
                      <a:pt x="11" y="107"/>
                      <a:pt x="7" y="107"/>
                    </a:cubicBezTo>
                    <a:cubicBezTo>
                      <a:pt x="6" y="107"/>
                      <a:pt x="5" y="109"/>
                      <a:pt x="6" y="111"/>
                    </a:cubicBezTo>
                    <a:cubicBezTo>
                      <a:pt x="6" y="112"/>
                      <a:pt x="10" y="112"/>
                      <a:pt x="11" y="113"/>
                    </a:cubicBezTo>
                    <a:cubicBezTo>
                      <a:pt x="16" y="115"/>
                      <a:pt x="22" y="116"/>
                      <a:pt x="27" y="118"/>
                    </a:cubicBezTo>
                    <a:cubicBezTo>
                      <a:pt x="23" y="120"/>
                      <a:pt x="18" y="123"/>
                      <a:pt x="14" y="125"/>
                    </a:cubicBezTo>
                    <a:cubicBezTo>
                      <a:pt x="10" y="124"/>
                      <a:pt x="6" y="121"/>
                      <a:pt x="1" y="121"/>
                    </a:cubicBezTo>
                    <a:cubicBezTo>
                      <a:pt x="1" y="121"/>
                      <a:pt x="1" y="121"/>
                      <a:pt x="1" y="122"/>
                    </a:cubicBezTo>
                    <a:cubicBezTo>
                      <a:pt x="1" y="122"/>
                      <a:pt x="1" y="122"/>
                      <a:pt x="0" y="123"/>
                    </a:cubicBezTo>
                    <a:cubicBezTo>
                      <a:pt x="3" y="125"/>
                      <a:pt x="8" y="126"/>
                      <a:pt x="11" y="127"/>
                    </a:cubicBezTo>
                    <a:cubicBezTo>
                      <a:pt x="9" y="130"/>
                      <a:pt x="3" y="130"/>
                      <a:pt x="0" y="134"/>
                    </a:cubicBezTo>
                    <a:cubicBezTo>
                      <a:pt x="1" y="136"/>
                      <a:pt x="2" y="137"/>
                      <a:pt x="3" y="138"/>
                    </a:cubicBezTo>
                    <a:cubicBezTo>
                      <a:pt x="5" y="139"/>
                      <a:pt x="11" y="134"/>
                      <a:pt x="13" y="133"/>
                    </a:cubicBezTo>
                    <a:cubicBezTo>
                      <a:pt x="13" y="136"/>
                      <a:pt x="12" y="139"/>
                      <a:pt x="11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3" y="142"/>
                      <a:pt x="13" y="142"/>
                      <a:pt x="13" y="142"/>
                    </a:cubicBezTo>
                    <a:cubicBezTo>
                      <a:pt x="14" y="142"/>
                      <a:pt x="16" y="133"/>
                      <a:pt x="16" y="131"/>
                    </a:cubicBezTo>
                    <a:cubicBezTo>
                      <a:pt x="20" y="129"/>
                      <a:pt x="24" y="127"/>
                      <a:pt x="28" y="124"/>
                    </a:cubicBezTo>
                    <a:cubicBezTo>
                      <a:pt x="28" y="128"/>
                      <a:pt x="24" y="141"/>
                      <a:pt x="25" y="144"/>
                    </a:cubicBezTo>
                    <a:cubicBezTo>
                      <a:pt x="25" y="144"/>
                      <a:pt x="25" y="144"/>
                      <a:pt x="26" y="145"/>
                    </a:cubicBezTo>
                    <a:cubicBezTo>
                      <a:pt x="26" y="145"/>
                      <a:pt x="27" y="145"/>
                      <a:pt x="28" y="145"/>
                    </a:cubicBezTo>
                    <a:cubicBezTo>
                      <a:pt x="30" y="143"/>
                      <a:pt x="33" y="125"/>
                      <a:pt x="34" y="121"/>
                    </a:cubicBezTo>
                    <a:cubicBezTo>
                      <a:pt x="44" y="115"/>
                      <a:pt x="54" y="110"/>
                      <a:pt x="64" y="104"/>
                    </a:cubicBezTo>
                    <a:cubicBezTo>
                      <a:pt x="65" y="105"/>
                      <a:pt x="66" y="106"/>
                      <a:pt x="67" y="107"/>
                    </a:cubicBezTo>
                    <a:cubicBezTo>
                      <a:pt x="65" y="110"/>
                      <a:pt x="62" y="113"/>
                      <a:pt x="62" y="117"/>
                    </a:cubicBezTo>
                    <a:cubicBezTo>
                      <a:pt x="63" y="118"/>
                      <a:pt x="64" y="119"/>
                      <a:pt x="65" y="119"/>
                    </a:cubicBezTo>
                    <a:cubicBezTo>
                      <a:pt x="68" y="119"/>
                      <a:pt x="71" y="113"/>
                      <a:pt x="72" y="110"/>
                    </a:cubicBezTo>
                    <a:cubicBezTo>
                      <a:pt x="74" y="111"/>
                      <a:pt x="75" y="111"/>
                      <a:pt x="77" y="111"/>
                    </a:cubicBezTo>
                    <a:cubicBezTo>
                      <a:pt x="77" y="122"/>
                      <a:pt x="77" y="133"/>
                      <a:pt x="77" y="144"/>
                    </a:cubicBezTo>
                    <a:cubicBezTo>
                      <a:pt x="72" y="148"/>
                      <a:pt x="68" y="153"/>
                      <a:pt x="63" y="157"/>
                    </a:cubicBezTo>
                    <a:cubicBezTo>
                      <a:pt x="61" y="158"/>
                      <a:pt x="59" y="159"/>
                      <a:pt x="58" y="162"/>
                    </a:cubicBezTo>
                    <a:cubicBezTo>
                      <a:pt x="58" y="163"/>
                      <a:pt x="59" y="164"/>
                      <a:pt x="60" y="164"/>
                    </a:cubicBezTo>
                    <a:cubicBezTo>
                      <a:pt x="60" y="164"/>
                      <a:pt x="61" y="164"/>
                      <a:pt x="61" y="164"/>
                    </a:cubicBezTo>
                    <a:cubicBezTo>
                      <a:pt x="67" y="160"/>
                      <a:pt x="72" y="155"/>
                      <a:pt x="77" y="151"/>
                    </a:cubicBezTo>
                    <a:cubicBezTo>
                      <a:pt x="77" y="155"/>
                      <a:pt x="77" y="160"/>
                      <a:pt x="77" y="165"/>
                    </a:cubicBezTo>
                    <a:cubicBezTo>
                      <a:pt x="74" y="167"/>
                      <a:pt x="71" y="170"/>
                      <a:pt x="67" y="173"/>
                    </a:cubicBezTo>
                    <a:cubicBezTo>
                      <a:pt x="68" y="174"/>
                      <a:pt x="68" y="175"/>
                      <a:pt x="69" y="175"/>
                    </a:cubicBezTo>
                    <a:cubicBezTo>
                      <a:pt x="70" y="175"/>
                      <a:pt x="76" y="170"/>
                      <a:pt x="77" y="168"/>
                    </a:cubicBezTo>
                    <a:cubicBezTo>
                      <a:pt x="77" y="168"/>
                      <a:pt x="77" y="168"/>
                      <a:pt x="77" y="168"/>
                    </a:cubicBezTo>
                    <a:cubicBezTo>
                      <a:pt x="77" y="172"/>
                      <a:pt x="76" y="179"/>
                      <a:pt x="78" y="182"/>
                    </a:cubicBezTo>
                    <a:cubicBezTo>
                      <a:pt x="80" y="182"/>
                      <a:pt x="82" y="182"/>
                      <a:pt x="83" y="181"/>
                    </a:cubicBezTo>
                    <a:cubicBezTo>
                      <a:pt x="84" y="178"/>
                      <a:pt x="83" y="173"/>
                      <a:pt x="83" y="169"/>
                    </a:cubicBezTo>
                    <a:cubicBezTo>
                      <a:pt x="86" y="171"/>
                      <a:pt x="88" y="174"/>
                      <a:pt x="91" y="175"/>
                    </a:cubicBezTo>
                    <a:cubicBezTo>
                      <a:pt x="92" y="175"/>
                      <a:pt x="92" y="175"/>
                      <a:pt x="92" y="174"/>
                    </a:cubicBezTo>
                    <a:cubicBezTo>
                      <a:pt x="92" y="172"/>
                      <a:pt x="85" y="166"/>
                      <a:pt x="83" y="165"/>
                    </a:cubicBezTo>
                    <a:cubicBezTo>
                      <a:pt x="83" y="161"/>
                      <a:pt x="83" y="156"/>
                      <a:pt x="83" y="151"/>
                    </a:cubicBezTo>
                    <a:cubicBezTo>
                      <a:pt x="88" y="156"/>
                      <a:pt x="93" y="160"/>
                      <a:pt x="98" y="164"/>
                    </a:cubicBezTo>
                    <a:cubicBezTo>
                      <a:pt x="99" y="164"/>
                      <a:pt x="99" y="164"/>
                      <a:pt x="100" y="164"/>
                    </a:cubicBezTo>
                    <a:cubicBezTo>
                      <a:pt x="101" y="164"/>
                      <a:pt x="101" y="163"/>
                      <a:pt x="102" y="162"/>
                    </a:cubicBezTo>
                    <a:cubicBezTo>
                      <a:pt x="101" y="160"/>
                      <a:pt x="99" y="159"/>
                      <a:pt x="97" y="158"/>
                    </a:cubicBezTo>
                    <a:cubicBezTo>
                      <a:pt x="93" y="153"/>
                      <a:pt x="88" y="149"/>
                      <a:pt x="83" y="145"/>
                    </a:cubicBezTo>
                    <a:cubicBezTo>
                      <a:pt x="83" y="134"/>
                      <a:pt x="83" y="123"/>
                      <a:pt x="83" y="111"/>
                    </a:cubicBezTo>
                    <a:cubicBezTo>
                      <a:pt x="85" y="111"/>
                      <a:pt x="86" y="111"/>
                      <a:pt x="88" y="110"/>
                    </a:cubicBezTo>
                    <a:cubicBezTo>
                      <a:pt x="90" y="113"/>
                      <a:pt x="90" y="117"/>
                      <a:pt x="94" y="119"/>
                    </a:cubicBezTo>
                    <a:cubicBezTo>
                      <a:pt x="96" y="119"/>
                      <a:pt x="97" y="118"/>
                      <a:pt x="98" y="117"/>
                    </a:cubicBezTo>
                    <a:cubicBezTo>
                      <a:pt x="97" y="113"/>
                      <a:pt x="94" y="111"/>
                      <a:pt x="93" y="107"/>
                    </a:cubicBezTo>
                    <a:cubicBezTo>
                      <a:pt x="94" y="106"/>
                      <a:pt x="95" y="105"/>
                      <a:pt x="96" y="104"/>
                    </a:cubicBezTo>
                    <a:cubicBezTo>
                      <a:pt x="98" y="103"/>
                      <a:pt x="102" y="107"/>
                      <a:pt x="104" y="108"/>
                    </a:cubicBezTo>
                    <a:cubicBezTo>
                      <a:pt x="111" y="112"/>
                      <a:pt x="118" y="116"/>
                      <a:pt x="126" y="120"/>
                    </a:cubicBezTo>
                    <a:cubicBezTo>
                      <a:pt x="127" y="128"/>
                      <a:pt x="129" y="136"/>
                      <a:pt x="131" y="144"/>
                    </a:cubicBezTo>
                    <a:cubicBezTo>
                      <a:pt x="131" y="144"/>
                      <a:pt x="131" y="145"/>
                      <a:pt x="132" y="145"/>
                    </a:cubicBezTo>
                    <a:cubicBezTo>
                      <a:pt x="133" y="145"/>
                      <a:pt x="134" y="145"/>
                      <a:pt x="135" y="144"/>
                    </a:cubicBezTo>
                    <a:cubicBezTo>
                      <a:pt x="136" y="141"/>
                      <a:pt x="132" y="127"/>
                      <a:pt x="131" y="124"/>
                    </a:cubicBezTo>
                    <a:cubicBezTo>
                      <a:pt x="135" y="126"/>
                      <a:pt x="139" y="128"/>
                      <a:pt x="143" y="131"/>
                    </a:cubicBezTo>
                    <a:cubicBezTo>
                      <a:pt x="144" y="133"/>
                      <a:pt x="145" y="141"/>
                      <a:pt x="146" y="142"/>
                    </a:cubicBezTo>
                    <a:cubicBezTo>
                      <a:pt x="147" y="142"/>
                      <a:pt x="147" y="142"/>
                      <a:pt x="147" y="142"/>
                    </a:cubicBezTo>
                    <a:cubicBezTo>
                      <a:pt x="147" y="142"/>
                      <a:pt x="148" y="142"/>
                      <a:pt x="148" y="142"/>
                    </a:cubicBezTo>
                    <a:cubicBezTo>
                      <a:pt x="149" y="140"/>
                      <a:pt x="147" y="135"/>
                      <a:pt x="147" y="133"/>
                    </a:cubicBezTo>
                    <a:cubicBezTo>
                      <a:pt x="150" y="135"/>
                      <a:pt x="154" y="136"/>
                      <a:pt x="157" y="138"/>
                    </a:cubicBezTo>
                    <a:cubicBezTo>
                      <a:pt x="158" y="137"/>
                      <a:pt x="159" y="136"/>
                      <a:pt x="160" y="135"/>
                    </a:cubicBezTo>
                    <a:cubicBezTo>
                      <a:pt x="160" y="134"/>
                      <a:pt x="160" y="134"/>
                      <a:pt x="159" y="133"/>
                    </a:cubicBezTo>
                    <a:close/>
                    <a:moveTo>
                      <a:pt x="82" y="105"/>
                    </a:moveTo>
                    <a:cubicBezTo>
                      <a:pt x="72" y="107"/>
                      <a:pt x="63" y="97"/>
                      <a:pt x="66" y="87"/>
                    </a:cubicBezTo>
                    <a:cubicBezTo>
                      <a:pt x="68" y="80"/>
                      <a:pt x="72" y="77"/>
                      <a:pt x="79" y="76"/>
                    </a:cubicBezTo>
                    <a:cubicBezTo>
                      <a:pt x="99" y="76"/>
                      <a:pt x="100" y="102"/>
                      <a:pt x="8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6" name="Group 115">
            <a:extLst>
              <a:ext uri="{FF2B5EF4-FFF2-40B4-BE49-F238E27FC236}">
                <a16:creationId xmlns="" xmlns:a16="http://schemas.microsoft.com/office/drawing/2014/main" id="{D4A521A0-285B-4CE6-8E77-084B852C6635}"/>
              </a:ext>
            </a:extLst>
          </p:cNvPr>
          <p:cNvGrpSpPr/>
          <p:nvPr/>
        </p:nvGrpSpPr>
        <p:grpSpPr>
          <a:xfrm>
            <a:off x="544124" y="4697023"/>
            <a:ext cx="11103746" cy="1914300"/>
            <a:chOff x="814298" y="3025483"/>
            <a:chExt cx="11103746" cy="1914300"/>
          </a:xfrm>
          <a:solidFill>
            <a:schemeClr val="bg1"/>
          </a:solidFill>
        </p:grpSpPr>
        <p:sp>
          <p:nvSpPr>
            <p:cNvPr id="117" name="Oval 58">
              <a:extLst>
                <a:ext uri="{FF2B5EF4-FFF2-40B4-BE49-F238E27FC236}">
                  <a16:creationId xmlns="" xmlns:a16="http://schemas.microsoft.com/office/drawing/2014/main" id="{412BAA70-D2FA-4936-BD3E-7ACFC0DBE8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428" y="4608849"/>
              <a:ext cx="72644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Oval 59">
              <a:extLst>
                <a:ext uri="{FF2B5EF4-FFF2-40B4-BE49-F238E27FC236}">
                  <a16:creationId xmlns="" xmlns:a16="http://schemas.microsoft.com/office/drawing/2014/main" id="{F25D311B-210D-4BD9-B03A-581E488FE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0332" y="4828126"/>
              <a:ext cx="73989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Oval 60">
              <a:extLst>
                <a:ext uri="{FF2B5EF4-FFF2-40B4-BE49-F238E27FC236}">
                  <a16:creationId xmlns="" xmlns:a16="http://schemas.microsoft.com/office/drawing/2014/main" id="{28D3C523-7B71-4869-A302-047DCEFE31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075" y="3921423"/>
              <a:ext cx="73989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Oval 61">
              <a:extLst>
                <a:ext uri="{FF2B5EF4-FFF2-40B4-BE49-F238E27FC236}">
                  <a16:creationId xmlns="" xmlns:a16="http://schemas.microsoft.com/office/drawing/2014/main" id="{96E6DF84-EAD8-4485-9598-5B4823EFC4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298" y="4182814"/>
              <a:ext cx="72644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Oval 62">
              <a:extLst>
                <a:ext uri="{FF2B5EF4-FFF2-40B4-BE49-F238E27FC236}">
                  <a16:creationId xmlns="" xmlns:a16="http://schemas.microsoft.com/office/drawing/2014/main" id="{D910C655-7B8F-45A8-AE60-7825553AF3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9695" y="4214689"/>
              <a:ext cx="7533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Oval 63">
              <a:extLst>
                <a:ext uri="{FF2B5EF4-FFF2-40B4-BE49-F238E27FC236}">
                  <a16:creationId xmlns="" xmlns:a16="http://schemas.microsoft.com/office/drawing/2014/main" id="{167EBB3B-2509-4310-ACF5-1BA4AD5ABC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7805" y="4007520"/>
              <a:ext cx="76680" cy="739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Oval 64">
              <a:extLst>
                <a:ext uri="{FF2B5EF4-FFF2-40B4-BE49-F238E27FC236}">
                  <a16:creationId xmlns="" xmlns:a16="http://schemas.microsoft.com/office/drawing/2014/main" id="{0D74F7C7-E7FB-4B0E-8B4F-00B747A40F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4694" y="3260902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65">
              <a:extLst>
                <a:ext uri="{FF2B5EF4-FFF2-40B4-BE49-F238E27FC236}">
                  <a16:creationId xmlns="" xmlns:a16="http://schemas.microsoft.com/office/drawing/2014/main" id="{17D76C90-FF8B-4F01-8888-34B73D0606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4515" y="3396773"/>
              <a:ext cx="73989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Oval 66">
              <a:extLst>
                <a:ext uri="{FF2B5EF4-FFF2-40B4-BE49-F238E27FC236}">
                  <a16:creationId xmlns="" xmlns:a16="http://schemas.microsoft.com/office/drawing/2014/main" id="{1834517E-8241-4E40-AA5A-1F170CA10B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9835" y="3260902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Oval 67">
              <a:extLst>
                <a:ext uri="{FF2B5EF4-FFF2-40B4-BE49-F238E27FC236}">
                  <a16:creationId xmlns="" xmlns:a16="http://schemas.microsoft.com/office/drawing/2014/main" id="{92E50459-3D25-4E19-8AA5-CD2423AAD5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9625" y="4272535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Oval 68">
              <a:extLst>
                <a:ext uri="{FF2B5EF4-FFF2-40B4-BE49-F238E27FC236}">
                  <a16:creationId xmlns="" xmlns:a16="http://schemas.microsoft.com/office/drawing/2014/main" id="{C90B7334-A07F-436F-A26C-E8A0B4C72D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4818" y="3816493"/>
              <a:ext cx="73989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Oval 69">
              <a:extLst>
                <a:ext uri="{FF2B5EF4-FFF2-40B4-BE49-F238E27FC236}">
                  <a16:creationId xmlns="" xmlns:a16="http://schemas.microsoft.com/office/drawing/2014/main" id="{6990ECAE-95C3-447C-A613-C1E78DD1CF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45400" y="4214689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Oval 70">
              <a:extLst>
                <a:ext uri="{FF2B5EF4-FFF2-40B4-BE49-F238E27FC236}">
                  <a16:creationId xmlns="" xmlns:a16="http://schemas.microsoft.com/office/drawing/2014/main" id="{1E8D1BEA-0B3D-4F7C-9477-C0C344B770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92967" y="3603943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Oval 71">
              <a:extLst>
                <a:ext uri="{FF2B5EF4-FFF2-40B4-BE49-F238E27FC236}">
                  <a16:creationId xmlns="" xmlns:a16="http://schemas.microsoft.com/office/drawing/2014/main" id="{E3E356EA-D35F-4EDB-B2B5-35A2F0A85E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7618" y="4867139"/>
              <a:ext cx="72644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Oval 72">
              <a:extLst>
                <a:ext uri="{FF2B5EF4-FFF2-40B4-BE49-F238E27FC236}">
                  <a16:creationId xmlns="" xmlns:a16="http://schemas.microsoft.com/office/drawing/2014/main" id="{4882A8A0-ED95-45F9-B07D-E9676FF1C1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6685" y="4643826"/>
              <a:ext cx="76680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Oval 73">
              <a:extLst>
                <a:ext uri="{FF2B5EF4-FFF2-40B4-BE49-F238E27FC236}">
                  <a16:creationId xmlns="" xmlns:a16="http://schemas.microsoft.com/office/drawing/2014/main" id="{C886EB20-BE35-422D-B630-CB700C334D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3808" y="3025483"/>
              <a:ext cx="7264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Oval 74">
              <a:extLst>
                <a:ext uri="{FF2B5EF4-FFF2-40B4-BE49-F238E27FC236}">
                  <a16:creationId xmlns="" xmlns:a16="http://schemas.microsoft.com/office/drawing/2014/main" id="{E635D408-5CA6-42C6-B154-B2D49EA3F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7338" y="3531299"/>
              <a:ext cx="7264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Oval 75">
              <a:extLst>
                <a:ext uri="{FF2B5EF4-FFF2-40B4-BE49-F238E27FC236}">
                  <a16:creationId xmlns="" xmlns:a16="http://schemas.microsoft.com/office/drawing/2014/main" id="{B7AC9F89-65CE-4310-B547-20C82E8110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5425" y="4214689"/>
              <a:ext cx="76680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Oval 76">
              <a:extLst>
                <a:ext uri="{FF2B5EF4-FFF2-40B4-BE49-F238E27FC236}">
                  <a16:creationId xmlns="" xmlns:a16="http://schemas.microsoft.com/office/drawing/2014/main" id="{8A29CE89-4CAE-42BE-B8F9-5B1AC84C5B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49444" y="3846089"/>
              <a:ext cx="73989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Oval 77">
              <a:extLst>
                <a:ext uri="{FF2B5EF4-FFF2-40B4-BE49-F238E27FC236}">
                  <a16:creationId xmlns="" xmlns:a16="http://schemas.microsoft.com/office/drawing/2014/main" id="{B829F4AA-5F37-4D48-966E-A6361EA5A5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807" y="4421859"/>
              <a:ext cx="75334" cy="753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Oval 78">
              <a:extLst>
                <a:ext uri="{FF2B5EF4-FFF2-40B4-BE49-F238E27FC236}">
                  <a16:creationId xmlns="" xmlns:a16="http://schemas.microsoft.com/office/drawing/2014/main" id="{5D96C7A4-5D2B-4AB7-94A4-A565A3540D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12244" y="4119176"/>
              <a:ext cx="76680" cy="766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Oval 79">
              <a:extLst>
                <a:ext uri="{FF2B5EF4-FFF2-40B4-BE49-F238E27FC236}">
                  <a16:creationId xmlns="" xmlns:a16="http://schemas.microsoft.com/office/drawing/2014/main" id="{1A5542B3-017B-44DC-9BFF-3906C859F6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0191" y="3883756"/>
              <a:ext cx="73989" cy="7264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5507188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6000">
        <p15:prstTrans prst="curtains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13665198" y="854451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5" name="Freeform 12"/>
          <p:cNvSpPr>
            <a:spLocks/>
          </p:cNvSpPr>
          <p:nvPr/>
        </p:nvSpPr>
        <p:spPr bwMode="auto">
          <a:xfrm>
            <a:off x="3461657" y="2329543"/>
            <a:ext cx="4920343" cy="2895602"/>
          </a:xfrm>
          <a:custGeom>
            <a:avLst/>
            <a:gdLst>
              <a:gd name="T0" fmla="*/ 473 w 946"/>
              <a:gd name="T1" fmla="*/ 772 h 772"/>
              <a:gd name="T2" fmla="*/ 325 w 946"/>
              <a:gd name="T3" fmla="*/ 688 h 772"/>
              <a:gd name="T4" fmla="*/ 42 w 946"/>
              <a:gd name="T5" fmla="*/ 260 h 772"/>
              <a:gd name="T6" fmla="*/ 29 w 946"/>
              <a:gd name="T7" fmla="*/ 85 h 772"/>
              <a:gd name="T8" fmla="*/ 182 w 946"/>
              <a:gd name="T9" fmla="*/ 0 h 772"/>
              <a:gd name="T10" fmla="*/ 764 w 946"/>
              <a:gd name="T11" fmla="*/ 0 h 772"/>
              <a:gd name="T12" fmla="*/ 917 w 946"/>
              <a:gd name="T13" fmla="*/ 85 h 772"/>
              <a:gd name="T14" fmla="*/ 904 w 946"/>
              <a:gd name="T15" fmla="*/ 260 h 772"/>
              <a:gd name="T16" fmla="*/ 621 w 946"/>
              <a:gd name="T17" fmla="*/ 688 h 772"/>
              <a:gd name="T18" fmla="*/ 473 w 946"/>
              <a:gd name="T19" fmla="*/ 772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46" h="772">
                <a:moveTo>
                  <a:pt x="473" y="772"/>
                </a:moveTo>
                <a:cubicBezTo>
                  <a:pt x="414" y="772"/>
                  <a:pt x="360" y="741"/>
                  <a:pt x="325" y="688"/>
                </a:cubicBezTo>
                <a:cubicBezTo>
                  <a:pt x="42" y="260"/>
                  <a:pt x="42" y="260"/>
                  <a:pt x="42" y="260"/>
                </a:cubicBezTo>
                <a:cubicBezTo>
                  <a:pt x="5" y="204"/>
                  <a:pt x="0" y="138"/>
                  <a:pt x="29" y="85"/>
                </a:cubicBezTo>
                <a:cubicBezTo>
                  <a:pt x="58" y="32"/>
                  <a:pt x="115" y="0"/>
                  <a:pt x="182" y="0"/>
                </a:cubicBezTo>
                <a:cubicBezTo>
                  <a:pt x="764" y="0"/>
                  <a:pt x="764" y="0"/>
                  <a:pt x="764" y="0"/>
                </a:cubicBezTo>
                <a:cubicBezTo>
                  <a:pt x="831" y="0"/>
                  <a:pt x="888" y="32"/>
                  <a:pt x="917" y="85"/>
                </a:cubicBezTo>
                <a:cubicBezTo>
                  <a:pt x="946" y="138"/>
                  <a:pt x="941" y="204"/>
                  <a:pt x="904" y="260"/>
                </a:cubicBezTo>
                <a:cubicBezTo>
                  <a:pt x="621" y="688"/>
                  <a:pt x="621" y="688"/>
                  <a:pt x="621" y="688"/>
                </a:cubicBezTo>
                <a:cubicBezTo>
                  <a:pt x="586" y="741"/>
                  <a:pt x="532" y="772"/>
                  <a:pt x="473" y="772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77" name="Freeform: Shape 76">
            <a:extLst>
              <a:ext uri="{FF2B5EF4-FFF2-40B4-BE49-F238E27FC236}">
                <a16:creationId xmlns="" xmlns:a16="http://schemas.microsoft.com/office/drawing/2014/main" id="{8B0AFA58-B310-4C4E-AB24-3CA8F17FAEA0}"/>
              </a:ext>
            </a:extLst>
          </p:cNvPr>
          <p:cNvSpPr/>
          <p:nvPr/>
        </p:nvSpPr>
        <p:spPr>
          <a:xfrm>
            <a:off x="3640250" y="75031"/>
            <a:ext cx="6362051" cy="965894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TextBox 77">
            <a:extLst>
              <a:ext uri="{FF2B5EF4-FFF2-40B4-BE49-F238E27FC236}">
                <a16:creationId xmlns="" xmlns:a16="http://schemas.microsoft.com/office/drawing/2014/main" id="{A7275F8F-6229-4B4D-8F1B-D866D65355C8}"/>
              </a:ext>
            </a:extLst>
          </p:cNvPr>
          <p:cNvSpPr txBox="1"/>
          <p:nvPr/>
        </p:nvSpPr>
        <p:spPr>
          <a:xfrm>
            <a:off x="4215783" y="291345"/>
            <a:ext cx="465094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Contexte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0" name="Nuage 69"/>
          <p:cNvSpPr/>
          <p:nvPr/>
        </p:nvSpPr>
        <p:spPr>
          <a:xfrm>
            <a:off x="11023718" y="6148200"/>
            <a:ext cx="624943" cy="438760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>
                <a:solidFill>
                  <a:schemeClr val="tx2"/>
                </a:solidFill>
                <a:latin typeface="Gabriola" panose="04040605051002020D02" pitchFamily="82" charset="0"/>
              </a:rPr>
              <a:t>3</a:t>
            </a:r>
          </a:p>
        </p:txBody>
      </p:sp>
      <p:sp>
        <p:nvSpPr>
          <p:cNvPr id="2" name="Rectangle 1"/>
          <p:cNvSpPr/>
          <p:nvPr/>
        </p:nvSpPr>
        <p:spPr>
          <a:xfrm>
            <a:off x="631371" y="1755365"/>
            <a:ext cx="10392347" cy="40439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6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Le directeur d’une grande chaîne internationale de restaurants souhaite s’équiper d’une nouvelle application de gestion et de supervision du fonctionnement de son restaurant.</a:t>
            </a:r>
            <a:endParaRPr lang="fr-FR" sz="3600" dirty="0">
              <a:solidFill>
                <a:schemeClr val="tx1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91714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>
          <a:xfrm>
            <a:off x="12093565" y="152400"/>
            <a:ext cx="469900" cy="469900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/>
        </p:nvSpPr>
        <p:spPr>
          <a:xfrm>
            <a:off x="12093565" y="801957"/>
            <a:ext cx="469900" cy="469900"/>
          </a:xfrm>
          <a:prstGeom prst="rect">
            <a:avLst/>
          </a:prstGeom>
          <a:solidFill>
            <a:srgbClr val="A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/>
        </p:nvSpPr>
        <p:spPr>
          <a:xfrm>
            <a:off x="12093565" y="1451514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/>
        </p:nvSpPr>
        <p:spPr>
          <a:xfrm>
            <a:off x="12715864" y="152400"/>
            <a:ext cx="469900" cy="469900"/>
          </a:xfrm>
          <a:prstGeom prst="rect">
            <a:avLst/>
          </a:prstGeom>
          <a:solidFill>
            <a:srgbClr val="E87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/>
        </p:nvSpPr>
        <p:spPr>
          <a:xfrm>
            <a:off x="12715864" y="801957"/>
            <a:ext cx="469900" cy="469900"/>
          </a:xfrm>
          <a:prstGeom prst="rect">
            <a:avLst/>
          </a:prstGeom>
          <a:solidFill>
            <a:srgbClr val="E258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12715864" y="1451514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/>
        </p:nvSpPr>
        <p:spPr>
          <a:xfrm>
            <a:off x="13338163" y="152400"/>
            <a:ext cx="469900" cy="469900"/>
          </a:xfrm>
          <a:prstGeom prst="rect">
            <a:avLst/>
          </a:prstGeom>
          <a:solidFill>
            <a:srgbClr val="8ED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/>
        </p:nvSpPr>
        <p:spPr>
          <a:xfrm>
            <a:off x="13338163" y="801957"/>
            <a:ext cx="469900" cy="469900"/>
          </a:xfrm>
          <a:prstGeom prst="rect">
            <a:avLst/>
          </a:prstGeom>
          <a:solidFill>
            <a:srgbClr val="78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/>
        </p:nvSpPr>
        <p:spPr>
          <a:xfrm>
            <a:off x="13338163" y="1451514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/>
        </p:nvSpPr>
        <p:spPr>
          <a:xfrm>
            <a:off x="13960462" y="152400"/>
            <a:ext cx="469900" cy="469900"/>
          </a:xfrm>
          <a:prstGeom prst="rect">
            <a:avLst/>
          </a:prstGeom>
          <a:solidFill>
            <a:srgbClr val="555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/>
        </p:nvSpPr>
        <p:spPr>
          <a:xfrm>
            <a:off x="13960462" y="801957"/>
            <a:ext cx="469900" cy="469900"/>
          </a:xfrm>
          <a:prstGeom prst="rect">
            <a:avLst/>
          </a:prstGeom>
          <a:solidFill>
            <a:srgbClr val="3B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13960462" y="1451514"/>
            <a:ext cx="469900" cy="469900"/>
          </a:xfrm>
          <a:prstGeom prst="rect">
            <a:avLst/>
          </a:prstGeom>
          <a:solidFill>
            <a:srgbClr val="2523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4" name="Freeform 213"/>
          <p:cNvSpPr>
            <a:spLocks/>
          </p:cNvSpPr>
          <p:nvPr/>
        </p:nvSpPr>
        <p:spPr bwMode="auto">
          <a:xfrm>
            <a:off x="5925883" y="4531900"/>
            <a:ext cx="660999" cy="665632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15" name="Freeform 214"/>
          <p:cNvSpPr>
            <a:spLocks/>
          </p:cNvSpPr>
          <p:nvPr/>
        </p:nvSpPr>
        <p:spPr bwMode="auto">
          <a:xfrm>
            <a:off x="6481958" y="3671914"/>
            <a:ext cx="1051018" cy="1058385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4CC7C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16" name="Freeform 215"/>
          <p:cNvSpPr>
            <a:spLocks/>
          </p:cNvSpPr>
          <p:nvPr/>
        </p:nvSpPr>
        <p:spPr bwMode="auto">
          <a:xfrm>
            <a:off x="6524761" y="2307461"/>
            <a:ext cx="1355563" cy="1243569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E2583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17" name="Freeform 216"/>
          <p:cNvSpPr>
            <a:spLocks/>
          </p:cNvSpPr>
          <p:nvPr/>
        </p:nvSpPr>
        <p:spPr bwMode="auto">
          <a:xfrm>
            <a:off x="5155423" y="1453113"/>
            <a:ext cx="1341130" cy="1350533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3B3939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18" name="Freeform 217"/>
          <p:cNvSpPr>
            <a:spLocks/>
          </p:cNvSpPr>
          <p:nvPr/>
        </p:nvSpPr>
        <p:spPr bwMode="auto">
          <a:xfrm flipH="1">
            <a:off x="5097767" y="4531900"/>
            <a:ext cx="660999" cy="665632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19" name="Freeform 218"/>
          <p:cNvSpPr>
            <a:spLocks/>
          </p:cNvSpPr>
          <p:nvPr/>
        </p:nvSpPr>
        <p:spPr bwMode="auto">
          <a:xfrm flipH="1">
            <a:off x="4132854" y="3564364"/>
            <a:ext cx="1051018" cy="1058385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E2583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0" name="Freeform 219"/>
          <p:cNvSpPr>
            <a:spLocks/>
          </p:cNvSpPr>
          <p:nvPr/>
        </p:nvSpPr>
        <p:spPr bwMode="auto">
          <a:xfrm flipH="1">
            <a:off x="4016268" y="2298742"/>
            <a:ext cx="1137124" cy="1145097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78D2D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1" name="Freeform 220"/>
          <p:cNvSpPr>
            <a:spLocks/>
          </p:cNvSpPr>
          <p:nvPr/>
        </p:nvSpPr>
        <p:spPr bwMode="auto">
          <a:xfrm>
            <a:off x="7338033" y="3333764"/>
            <a:ext cx="381164" cy="383836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2" name="Freeform 221"/>
          <p:cNvSpPr>
            <a:spLocks/>
          </p:cNvSpPr>
          <p:nvPr/>
        </p:nvSpPr>
        <p:spPr bwMode="auto">
          <a:xfrm>
            <a:off x="3971131" y="3333764"/>
            <a:ext cx="381164" cy="383836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3" name="Freeform 23"/>
          <p:cNvSpPr>
            <a:spLocks noEditPoints="1"/>
          </p:cNvSpPr>
          <p:nvPr/>
        </p:nvSpPr>
        <p:spPr bwMode="auto">
          <a:xfrm>
            <a:off x="6586885" y="1869588"/>
            <a:ext cx="382631" cy="383470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4" name="Freeform 23"/>
          <p:cNvSpPr>
            <a:spLocks noEditPoints="1"/>
          </p:cNvSpPr>
          <p:nvPr/>
        </p:nvSpPr>
        <p:spPr bwMode="auto">
          <a:xfrm>
            <a:off x="4659120" y="1869588"/>
            <a:ext cx="382631" cy="383470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5" name="Freeform 23"/>
          <p:cNvSpPr>
            <a:spLocks noEditPoints="1"/>
          </p:cNvSpPr>
          <p:nvPr/>
        </p:nvSpPr>
        <p:spPr bwMode="auto">
          <a:xfrm>
            <a:off x="5181600" y="2842214"/>
            <a:ext cx="802185" cy="803946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6" name="Freeform 23"/>
          <p:cNvSpPr>
            <a:spLocks noEditPoints="1"/>
          </p:cNvSpPr>
          <p:nvPr/>
        </p:nvSpPr>
        <p:spPr bwMode="auto">
          <a:xfrm>
            <a:off x="5990709" y="2803560"/>
            <a:ext cx="439662" cy="440628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7" name="Freeform 23"/>
          <p:cNvSpPr>
            <a:spLocks noEditPoints="1"/>
          </p:cNvSpPr>
          <p:nvPr/>
        </p:nvSpPr>
        <p:spPr bwMode="auto">
          <a:xfrm>
            <a:off x="5484893" y="3617710"/>
            <a:ext cx="912187" cy="914189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8" name="Freeform 227"/>
          <p:cNvSpPr>
            <a:spLocks/>
          </p:cNvSpPr>
          <p:nvPr/>
        </p:nvSpPr>
        <p:spPr bwMode="auto">
          <a:xfrm>
            <a:off x="6128140" y="3297605"/>
            <a:ext cx="381164" cy="383836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9" name="Freeform 6"/>
          <p:cNvSpPr>
            <a:spLocks/>
          </p:cNvSpPr>
          <p:nvPr/>
        </p:nvSpPr>
        <p:spPr bwMode="auto">
          <a:xfrm>
            <a:off x="5192924" y="5395655"/>
            <a:ext cx="1289034" cy="182998"/>
          </a:xfrm>
          <a:custGeom>
            <a:avLst/>
            <a:gdLst>
              <a:gd name="T0" fmla="*/ 52 w 56"/>
              <a:gd name="T1" fmla="*/ 0 h 8"/>
              <a:gd name="T2" fmla="*/ 4 w 56"/>
              <a:gd name="T3" fmla="*/ 0 h 8"/>
              <a:gd name="T4" fmla="*/ 0 w 56"/>
              <a:gd name="T5" fmla="*/ 4 h 8"/>
              <a:gd name="T6" fmla="*/ 4 w 56"/>
              <a:gd name="T7" fmla="*/ 8 h 8"/>
              <a:gd name="T8" fmla="*/ 52 w 56"/>
              <a:gd name="T9" fmla="*/ 8 h 8"/>
              <a:gd name="T10" fmla="*/ 56 w 56"/>
              <a:gd name="T11" fmla="*/ 4 h 8"/>
              <a:gd name="T12" fmla="*/ 52 w 56"/>
              <a:gd name="T13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6" h="8">
                <a:moveTo>
                  <a:pt x="52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4" y="8"/>
                  <a:pt x="56" y="6"/>
                  <a:pt x="56" y="4"/>
                </a:cubicBezTo>
                <a:cubicBezTo>
                  <a:pt x="56" y="2"/>
                  <a:pt x="54" y="0"/>
                  <a:pt x="52" y="0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30" name="Freeform 7"/>
          <p:cNvSpPr>
            <a:spLocks/>
          </p:cNvSpPr>
          <p:nvPr/>
        </p:nvSpPr>
        <p:spPr bwMode="auto">
          <a:xfrm>
            <a:off x="5192924" y="5761652"/>
            <a:ext cx="1289034" cy="182998"/>
          </a:xfrm>
          <a:custGeom>
            <a:avLst/>
            <a:gdLst>
              <a:gd name="T0" fmla="*/ 52 w 56"/>
              <a:gd name="T1" fmla="*/ 0 h 8"/>
              <a:gd name="T2" fmla="*/ 4 w 56"/>
              <a:gd name="T3" fmla="*/ 0 h 8"/>
              <a:gd name="T4" fmla="*/ 0 w 56"/>
              <a:gd name="T5" fmla="*/ 4 h 8"/>
              <a:gd name="T6" fmla="*/ 4 w 56"/>
              <a:gd name="T7" fmla="*/ 8 h 8"/>
              <a:gd name="T8" fmla="*/ 52 w 56"/>
              <a:gd name="T9" fmla="*/ 8 h 8"/>
              <a:gd name="T10" fmla="*/ 56 w 56"/>
              <a:gd name="T11" fmla="*/ 4 h 8"/>
              <a:gd name="T12" fmla="*/ 52 w 56"/>
              <a:gd name="T13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6" h="8">
                <a:moveTo>
                  <a:pt x="52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4" y="8"/>
                  <a:pt x="56" y="6"/>
                  <a:pt x="56" y="4"/>
                </a:cubicBezTo>
                <a:cubicBezTo>
                  <a:pt x="56" y="2"/>
                  <a:pt x="54" y="0"/>
                  <a:pt x="52" y="0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31" name="Freeform 8"/>
          <p:cNvSpPr>
            <a:spLocks/>
          </p:cNvSpPr>
          <p:nvPr/>
        </p:nvSpPr>
        <p:spPr bwMode="auto">
          <a:xfrm>
            <a:off x="5192924" y="6129661"/>
            <a:ext cx="1289034" cy="548994"/>
          </a:xfrm>
          <a:custGeom>
            <a:avLst/>
            <a:gdLst>
              <a:gd name="T0" fmla="*/ 52 w 56"/>
              <a:gd name="T1" fmla="*/ 0 h 24"/>
              <a:gd name="T2" fmla="*/ 4 w 56"/>
              <a:gd name="T3" fmla="*/ 0 h 24"/>
              <a:gd name="T4" fmla="*/ 0 w 56"/>
              <a:gd name="T5" fmla="*/ 4 h 24"/>
              <a:gd name="T6" fmla="*/ 4 w 56"/>
              <a:gd name="T7" fmla="*/ 8 h 24"/>
              <a:gd name="T8" fmla="*/ 24 w 56"/>
              <a:gd name="T9" fmla="*/ 8 h 24"/>
              <a:gd name="T10" fmla="*/ 24 w 56"/>
              <a:gd name="T11" fmla="*/ 20 h 24"/>
              <a:gd name="T12" fmla="*/ 28 w 56"/>
              <a:gd name="T13" fmla="*/ 24 h 24"/>
              <a:gd name="T14" fmla="*/ 32 w 56"/>
              <a:gd name="T15" fmla="*/ 20 h 24"/>
              <a:gd name="T16" fmla="*/ 32 w 56"/>
              <a:gd name="T17" fmla="*/ 8 h 24"/>
              <a:gd name="T18" fmla="*/ 52 w 56"/>
              <a:gd name="T19" fmla="*/ 8 h 24"/>
              <a:gd name="T20" fmla="*/ 56 w 56"/>
              <a:gd name="T21" fmla="*/ 4 h 24"/>
              <a:gd name="T22" fmla="*/ 52 w 56"/>
              <a:gd name="T23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6" h="24">
                <a:moveTo>
                  <a:pt x="52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24" y="8"/>
                  <a:pt x="24" y="8"/>
                  <a:pt x="24" y="8"/>
                </a:cubicBezTo>
                <a:cubicBezTo>
                  <a:pt x="24" y="20"/>
                  <a:pt x="24" y="20"/>
                  <a:pt x="24" y="20"/>
                </a:cubicBezTo>
                <a:cubicBezTo>
                  <a:pt x="24" y="22"/>
                  <a:pt x="26" y="24"/>
                  <a:pt x="28" y="24"/>
                </a:cubicBezTo>
                <a:cubicBezTo>
                  <a:pt x="30" y="24"/>
                  <a:pt x="32" y="22"/>
                  <a:pt x="32" y="20"/>
                </a:cubicBezTo>
                <a:cubicBezTo>
                  <a:pt x="32" y="8"/>
                  <a:pt x="32" y="8"/>
                  <a:pt x="32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4" y="8"/>
                  <a:pt x="56" y="6"/>
                  <a:pt x="56" y="4"/>
                </a:cubicBezTo>
                <a:cubicBezTo>
                  <a:pt x="56" y="2"/>
                  <a:pt x="54" y="0"/>
                  <a:pt x="52" y="0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48" name="Rectangle 247"/>
          <p:cNvSpPr/>
          <p:nvPr>
            <p:custDataLst>
              <p:tags r:id="rId1"/>
            </p:custDataLst>
          </p:nvPr>
        </p:nvSpPr>
        <p:spPr>
          <a:xfrm>
            <a:off x="5243724" y="1959059"/>
            <a:ext cx="1052297" cy="338554"/>
          </a:xfrm>
          <a:prstGeom prst="rect">
            <a:avLst/>
          </a:prstGeom>
          <a:effectLst/>
        </p:spPr>
        <p:txBody>
          <a:bodyPr wrap="square" anchor="ctr">
            <a:spAutoFit/>
          </a:bodyPr>
          <a:lstStyle/>
          <a:p>
            <a:pPr algn="ctr"/>
            <a:r>
              <a:rPr lang="en-US" sz="1600" b="1" dirty="0" smtClean="0">
                <a:solidFill>
                  <a:prstClr val="white"/>
                </a:solidFill>
              </a:rPr>
              <a:t>Restaurant</a:t>
            </a: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249" name="Rectangle 248"/>
          <p:cNvSpPr/>
          <p:nvPr>
            <p:custDataLst>
              <p:tags r:id="rId2"/>
            </p:custDataLst>
          </p:nvPr>
        </p:nvSpPr>
        <p:spPr>
          <a:xfrm>
            <a:off x="471015" y="3335881"/>
            <a:ext cx="2896210" cy="64633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just"/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</a:t>
            </a:r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ttre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en </a:t>
            </a:r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atique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la </a:t>
            </a:r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estion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des threads 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0" name="Rectangle 249"/>
          <p:cNvSpPr/>
          <p:nvPr>
            <p:custDataLst>
              <p:tags r:id="rId3"/>
            </p:custDataLst>
          </p:nvPr>
        </p:nvSpPr>
        <p:spPr>
          <a:xfrm>
            <a:off x="8020395" y="2408598"/>
            <a:ext cx="3082569" cy="92333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ettre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en </a:t>
            </a:r>
            <a:r>
              <a:rPr lang="en-US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atique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’intercommunication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grace aux sockets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="" xmlns:a16="http://schemas.microsoft.com/office/drawing/2014/main" id="{D26AADB2-03FA-4040-AA1C-8A8065EF0ED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46760" y="1406517"/>
            <a:ext cx="3605535" cy="64633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just"/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éaliser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ne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application de simulation du restauran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="" xmlns:a16="http://schemas.microsoft.com/office/drawing/2014/main" id="{B4483398-B2B8-4B7F-B03F-C9E6B0E58AC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57936" y="2721449"/>
            <a:ext cx="1064396" cy="338554"/>
          </a:xfrm>
          <a:prstGeom prst="rect">
            <a:avLst/>
          </a:prstGeom>
          <a:effectLst/>
        </p:spPr>
        <p:txBody>
          <a:bodyPr wrap="square" anchor="ctr">
            <a:spAutoFit/>
          </a:bodyPr>
          <a:lstStyle/>
          <a:p>
            <a:pPr algn="ctr"/>
            <a:r>
              <a:rPr lang="en-US" sz="1600" b="1" dirty="0" smtClean="0">
                <a:solidFill>
                  <a:prstClr val="white"/>
                </a:solidFill>
              </a:rPr>
              <a:t>Restaurant</a:t>
            </a: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="" xmlns:a16="http://schemas.microsoft.com/office/drawing/2014/main" id="{3B355B41-19F6-4827-815F-B0DA1206D79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496553" y="2841380"/>
            <a:ext cx="1311666" cy="338554"/>
          </a:xfrm>
          <a:prstGeom prst="rect">
            <a:avLst/>
          </a:prstGeom>
          <a:effectLst/>
        </p:spPr>
        <p:txBody>
          <a:bodyPr wrap="square" anchor="ctr">
            <a:spAutoFit/>
          </a:bodyPr>
          <a:lstStyle/>
          <a:p>
            <a:pPr algn="ctr"/>
            <a:r>
              <a:rPr lang="en-US" sz="1600" b="1" dirty="0" smtClean="0">
                <a:solidFill>
                  <a:prstClr val="white"/>
                </a:solidFill>
              </a:rPr>
              <a:t>Restaurant</a:t>
            </a: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="" xmlns:a16="http://schemas.microsoft.com/office/drawing/2014/main" id="{B8316E93-C43C-4EF3-BC37-B11AA7507C97}"/>
              </a:ext>
            </a:extLst>
          </p:cNvPr>
          <p:cNvSpPr txBox="1"/>
          <p:nvPr/>
        </p:nvSpPr>
        <p:spPr>
          <a:xfrm>
            <a:off x="209524" y="424885"/>
            <a:ext cx="4445781" cy="58477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fr-FR" sz="3800" b="1" dirty="0" smtClean="0">
                <a:solidFill>
                  <a:srgbClr val="D63A31"/>
                </a:solidFill>
                <a:latin typeface="+mj-lt"/>
              </a:rPr>
              <a:t>Obje</a:t>
            </a:r>
            <a:r>
              <a:rPr lang="fr-FR" sz="3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tifs</a:t>
            </a:r>
            <a:endParaRPr lang="id-ID" sz="44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="" xmlns:a16="http://schemas.microsoft.com/office/drawing/2014/main" id="{7CD51AD5-0DBD-4EE8-8EBF-C29B4D26448B}"/>
              </a:ext>
            </a:extLst>
          </p:cNvPr>
          <p:cNvSpPr/>
          <p:nvPr/>
        </p:nvSpPr>
        <p:spPr>
          <a:xfrm>
            <a:off x="3640251" y="-121917"/>
            <a:ext cx="6347812" cy="839713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>
            <a:extLst>
              <a:ext uri="{FF2B5EF4-FFF2-40B4-BE49-F238E27FC236}">
                <a16:creationId xmlns="" xmlns:a16="http://schemas.microsoft.com/office/drawing/2014/main" id="{B0521F56-07AC-43A5-A8B8-E5AA2009C0A4}"/>
              </a:ext>
            </a:extLst>
          </p:cNvPr>
          <p:cNvSpPr txBox="1"/>
          <p:nvPr/>
        </p:nvSpPr>
        <p:spPr>
          <a:xfrm>
            <a:off x="4199291" y="36854"/>
            <a:ext cx="4650940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Présentation du </a:t>
            </a: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p</a:t>
            </a: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ojet 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  <a:p>
            <a:pPr algn="ctr">
              <a:buClr>
                <a:schemeClr val="accent2"/>
              </a:buClr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3" name="Nuage 42"/>
          <p:cNvSpPr/>
          <p:nvPr/>
        </p:nvSpPr>
        <p:spPr>
          <a:xfrm>
            <a:off x="11023718" y="6148200"/>
            <a:ext cx="624943" cy="438760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>
                <a:solidFill>
                  <a:schemeClr val="tx2"/>
                </a:solidFill>
                <a:latin typeface="Gabriola" panose="04040605051002020D02" pitchFamily="82" charset="0"/>
              </a:rPr>
              <a:t>4</a:t>
            </a:r>
          </a:p>
        </p:txBody>
      </p:sp>
      <p:cxnSp>
        <p:nvCxnSpPr>
          <p:cNvPr id="42" name="Straight Connector 235">
            <a:extLst>
              <a:ext uri="{FF2B5EF4-FFF2-40B4-BE49-F238E27FC236}">
                <a16:creationId xmlns="" xmlns:a16="http://schemas.microsoft.com/office/drawing/2014/main" id="{7CAA804B-F70E-4EBD-A48C-EAD8A7C82985}"/>
              </a:ext>
            </a:extLst>
          </p:cNvPr>
          <p:cNvCxnSpPr/>
          <p:nvPr/>
        </p:nvCxnSpPr>
        <p:spPr>
          <a:xfrm>
            <a:off x="855388" y="1065806"/>
            <a:ext cx="2983379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122123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2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2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10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2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2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10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10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2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2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10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2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2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10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2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2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10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2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2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4" grpId="0" animBg="1"/>
      <p:bldP spid="215" grpId="0" animBg="1"/>
      <p:bldP spid="216" grpId="0" animBg="1"/>
      <p:bldP spid="218" grpId="0" animBg="1"/>
      <p:bldP spid="219" grpId="0" animBg="1"/>
      <p:bldP spid="220" grpId="0" animBg="1"/>
      <p:bldP spid="221" grpId="0" animBg="1"/>
      <p:bldP spid="222" grpId="0" animBg="1"/>
      <p:bldP spid="223" grpId="0" animBg="1"/>
      <p:bldP spid="225" grpId="0" animBg="1"/>
      <p:bldP spid="226" grpId="0" animBg="1"/>
      <p:bldP spid="227" grpId="0" animBg="1"/>
      <p:bldP spid="228" grpId="0" animBg="1"/>
      <p:bldP spid="229" grpId="0" animBg="1"/>
      <p:bldP spid="230" grpId="0" animBg="1"/>
      <p:bldP spid="231" grpId="0" animBg="1"/>
      <p:bldP spid="248" grpId="0"/>
      <p:bldP spid="249" grpId="0"/>
      <p:bldP spid="250" grpId="0"/>
      <p:bldP spid="59" grpId="0"/>
      <p:bldP spid="6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ight Triangle 37">
            <a:extLst>
              <a:ext uri="{FF2B5EF4-FFF2-40B4-BE49-F238E27FC236}">
                <a16:creationId xmlns="" xmlns:a16="http://schemas.microsoft.com/office/drawing/2014/main" id="{637E8DD9-B6C1-428F-B37E-BFAED6E7B445}"/>
              </a:ext>
            </a:extLst>
          </p:cNvPr>
          <p:cNvSpPr/>
          <p:nvPr/>
        </p:nvSpPr>
        <p:spPr>
          <a:xfrm flipH="1">
            <a:off x="3162329" y="5166269"/>
            <a:ext cx="946727" cy="946727"/>
          </a:xfrm>
          <a:prstGeom prst="rtTriangle">
            <a:avLst/>
          </a:prstGeom>
          <a:pattFill prst="pct5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8" name="Group 247">
            <a:extLst>
              <a:ext uri="{FF2B5EF4-FFF2-40B4-BE49-F238E27FC236}">
                <a16:creationId xmlns="" xmlns:a16="http://schemas.microsoft.com/office/drawing/2014/main" id="{155FE260-F47E-4123-8094-7526C8EA3AFD}"/>
              </a:ext>
            </a:extLst>
          </p:cNvPr>
          <p:cNvGrpSpPr/>
          <p:nvPr/>
        </p:nvGrpSpPr>
        <p:grpSpPr>
          <a:xfrm>
            <a:off x="7356524" y="2677537"/>
            <a:ext cx="241300" cy="371476"/>
            <a:chOff x="4530725" y="3243263"/>
            <a:chExt cx="241300" cy="371476"/>
          </a:xfrm>
          <a:solidFill>
            <a:schemeClr val="bg1"/>
          </a:solidFill>
        </p:grpSpPr>
        <p:sp>
          <p:nvSpPr>
            <p:cNvPr id="249" name="Freeform 5">
              <a:extLst>
                <a:ext uri="{FF2B5EF4-FFF2-40B4-BE49-F238E27FC236}">
                  <a16:creationId xmlns="" xmlns:a16="http://schemas.microsoft.com/office/drawing/2014/main" id="{9DE3D45B-30C9-49D2-A260-89C8CDD6B9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2950" y="3363913"/>
              <a:ext cx="184150" cy="92075"/>
            </a:xfrm>
            <a:custGeom>
              <a:avLst/>
              <a:gdLst>
                <a:gd name="T0" fmla="*/ 0 w 49"/>
                <a:gd name="T1" fmla="*/ 18 h 24"/>
                <a:gd name="T2" fmla="*/ 0 w 49"/>
                <a:gd name="T3" fmla="*/ 20 h 24"/>
                <a:gd name="T4" fmla="*/ 2 w 49"/>
                <a:gd name="T5" fmla="*/ 21 h 24"/>
                <a:gd name="T6" fmla="*/ 10 w 49"/>
                <a:gd name="T7" fmla="*/ 21 h 24"/>
                <a:gd name="T8" fmla="*/ 7 w 49"/>
                <a:gd name="T9" fmla="*/ 24 h 24"/>
                <a:gd name="T10" fmla="*/ 49 w 49"/>
                <a:gd name="T11" fmla="*/ 13 h 24"/>
                <a:gd name="T12" fmla="*/ 40 w 49"/>
                <a:gd name="T13" fmla="*/ 0 h 24"/>
                <a:gd name="T14" fmla="*/ 6 w 49"/>
                <a:gd name="T15" fmla="*/ 10 h 24"/>
                <a:gd name="T16" fmla="*/ 0 w 49"/>
                <a:gd name="T17" fmla="*/ 18 h 24"/>
                <a:gd name="T18" fmla="*/ 34 w 49"/>
                <a:gd name="T19" fmla="*/ 9 h 24"/>
                <a:gd name="T20" fmla="*/ 36 w 49"/>
                <a:gd name="T21" fmla="*/ 11 h 24"/>
                <a:gd name="T22" fmla="*/ 34 w 49"/>
                <a:gd name="T23" fmla="*/ 13 h 24"/>
                <a:gd name="T24" fmla="*/ 32 w 49"/>
                <a:gd name="T25" fmla="*/ 11 h 24"/>
                <a:gd name="T26" fmla="*/ 34 w 49"/>
                <a:gd name="T27" fmla="*/ 9 h 24"/>
                <a:gd name="T28" fmla="*/ 26 w 49"/>
                <a:gd name="T29" fmla="*/ 13 h 24"/>
                <a:gd name="T30" fmla="*/ 28 w 49"/>
                <a:gd name="T31" fmla="*/ 15 h 24"/>
                <a:gd name="T32" fmla="*/ 26 w 49"/>
                <a:gd name="T33" fmla="*/ 17 h 24"/>
                <a:gd name="T34" fmla="*/ 24 w 49"/>
                <a:gd name="T35" fmla="*/ 15 h 24"/>
                <a:gd name="T36" fmla="*/ 26 w 49"/>
                <a:gd name="T37" fmla="*/ 13 h 24"/>
                <a:gd name="T38" fmla="*/ 18 w 49"/>
                <a:gd name="T39" fmla="*/ 9 h 24"/>
                <a:gd name="T40" fmla="*/ 20 w 49"/>
                <a:gd name="T41" fmla="*/ 11 h 24"/>
                <a:gd name="T42" fmla="*/ 18 w 49"/>
                <a:gd name="T43" fmla="*/ 13 h 24"/>
                <a:gd name="T44" fmla="*/ 16 w 49"/>
                <a:gd name="T45" fmla="*/ 11 h 24"/>
                <a:gd name="T46" fmla="*/ 18 w 49"/>
                <a:gd name="T47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" h="24">
                  <a:moveTo>
                    <a:pt x="0" y="18"/>
                  </a:moveTo>
                  <a:cubicBezTo>
                    <a:pt x="0" y="19"/>
                    <a:pt x="0" y="19"/>
                    <a:pt x="0" y="20"/>
                  </a:cubicBezTo>
                  <a:cubicBezTo>
                    <a:pt x="1" y="21"/>
                    <a:pt x="1" y="21"/>
                    <a:pt x="2" y="21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0" y="18"/>
                  </a:lnTo>
                  <a:close/>
                  <a:moveTo>
                    <a:pt x="34" y="9"/>
                  </a:moveTo>
                  <a:cubicBezTo>
                    <a:pt x="35" y="9"/>
                    <a:pt x="36" y="10"/>
                    <a:pt x="36" y="11"/>
                  </a:cubicBezTo>
                  <a:cubicBezTo>
                    <a:pt x="36" y="12"/>
                    <a:pt x="35" y="13"/>
                    <a:pt x="34" y="13"/>
                  </a:cubicBezTo>
                  <a:cubicBezTo>
                    <a:pt x="33" y="13"/>
                    <a:pt x="32" y="12"/>
                    <a:pt x="32" y="11"/>
                  </a:cubicBezTo>
                  <a:cubicBezTo>
                    <a:pt x="32" y="10"/>
                    <a:pt x="33" y="9"/>
                    <a:pt x="34" y="9"/>
                  </a:cubicBezTo>
                  <a:close/>
                  <a:moveTo>
                    <a:pt x="26" y="13"/>
                  </a:moveTo>
                  <a:cubicBezTo>
                    <a:pt x="27" y="13"/>
                    <a:pt x="28" y="14"/>
                    <a:pt x="28" y="15"/>
                  </a:cubicBezTo>
                  <a:cubicBezTo>
                    <a:pt x="28" y="16"/>
                    <a:pt x="27" y="17"/>
                    <a:pt x="26" y="17"/>
                  </a:cubicBezTo>
                  <a:cubicBezTo>
                    <a:pt x="25" y="17"/>
                    <a:pt x="24" y="16"/>
                    <a:pt x="24" y="15"/>
                  </a:cubicBezTo>
                  <a:cubicBezTo>
                    <a:pt x="24" y="14"/>
                    <a:pt x="25" y="13"/>
                    <a:pt x="26" y="13"/>
                  </a:cubicBezTo>
                  <a:close/>
                  <a:moveTo>
                    <a:pt x="18" y="9"/>
                  </a:moveTo>
                  <a:cubicBezTo>
                    <a:pt x="19" y="9"/>
                    <a:pt x="20" y="10"/>
                    <a:pt x="20" y="11"/>
                  </a:cubicBezTo>
                  <a:cubicBezTo>
                    <a:pt x="20" y="12"/>
                    <a:pt x="19" y="13"/>
                    <a:pt x="18" y="13"/>
                  </a:cubicBezTo>
                  <a:cubicBezTo>
                    <a:pt x="17" y="13"/>
                    <a:pt x="16" y="12"/>
                    <a:pt x="16" y="11"/>
                  </a:cubicBezTo>
                  <a:cubicBezTo>
                    <a:pt x="16" y="10"/>
                    <a:pt x="17" y="9"/>
                    <a:pt x="1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0" name="Freeform 6">
              <a:extLst>
                <a:ext uri="{FF2B5EF4-FFF2-40B4-BE49-F238E27FC236}">
                  <a16:creationId xmlns="" xmlns:a16="http://schemas.microsoft.com/office/drawing/2014/main" id="{14BFA9C7-8BCE-44ED-816B-B926E1D83E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3113" y="3243263"/>
              <a:ext cx="136525" cy="139700"/>
            </a:xfrm>
            <a:custGeom>
              <a:avLst/>
              <a:gdLst>
                <a:gd name="T0" fmla="*/ 2 w 36"/>
                <a:gd name="T1" fmla="*/ 28 h 36"/>
                <a:gd name="T2" fmla="*/ 6 w 36"/>
                <a:gd name="T3" fmla="*/ 28 h 36"/>
                <a:gd name="T4" fmla="*/ 1 w 36"/>
                <a:gd name="T5" fmla="*/ 36 h 36"/>
                <a:gd name="T6" fmla="*/ 36 w 36"/>
                <a:gd name="T7" fmla="*/ 26 h 36"/>
                <a:gd name="T8" fmla="*/ 20 w 36"/>
                <a:gd name="T9" fmla="*/ 1 h 36"/>
                <a:gd name="T10" fmla="*/ 16 w 36"/>
                <a:gd name="T11" fmla="*/ 1 h 36"/>
                <a:gd name="T12" fmla="*/ 0 w 36"/>
                <a:gd name="T13" fmla="*/ 25 h 36"/>
                <a:gd name="T14" fmla="*/ 0 w 36"/>
                <a:gd name="T15" fmla="*/ 27 h 36"/>
                <a:gd name="T16" fmla="*/ 2 w 36"/>
                <a:gd name="T17" fmla="*/ 28 h 36"/>
                <a:gd name="T18" fmla="*/ 18 w 36"/>
                <a:gd name="T19" fmla="*/ 16 h 36"/>
                <a:gd name="T20" fmla="*/ 20 w 36"/>
                <a:gd name="T21" fmla="*/ 18 h 36"/>
                <a:gd name="T22" fmla="*/ 18 w 36"/>
                <a:gd name="T23" fmla="*/ 20 h 36"/>
                <a:gd name="T24" fmla="*/ 16 w 36"/>
                <a:gd name="T25" fmla="*/ 18 h 36"/>
                <a:gd name="T26" fmla="*/ 18 w 36"/>
                <a:gd name="T27" fmla="*/ 16 h 36"/>
                <a:gd name="T28" fmla="*/ 18 w 36"/>
                <a:gd name="T29" fmla="*/ 24 h 36"/>
                <a:gd name="T30" fmla="*/ 20 w 36"/>
                <a:gd name="T31" fmla="*/ 26 h 36"/>
                <a:gd name="T32" fmla="*/ 18 w 36"/>
                <a:gd name="T33" fmla="*/ 28 h 36"/>
                <a:gd name="T34" fmla="*/ 16 w 36"/>
                <a:gd name="T35" fmla="*/ 26 h 36"/>
                <a:gd name="T36" fmla="*/ 18 w 36"/>
                <a:gd name="T3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" h="36">
                  <a:moveTo>
                    <a:pt x="2" y="28"/>
                  </a:moveTo>
                  <a:cubicBezTo>
                    <a:pt x="6" y="28"/>
                    <a:pt x="6" y="28"/>
                    <a:pt x="6" y="28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20" y="1"/>
                    <a:pt x="20" y="1"/>
                  </a:cubicBezTo>
                  <a:cubicBezTo>
                    <a:pt x="19" y="0"/>
                    <a:pt x="17" y="0"/>
                    <a:pt x="16" y="1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7"/>
                  </a:cubicBezTo>
                  <a:cubicBezTo>
                    <a:pt x="1" y="28"/>
                    <a:pt x="1" y="28"/>
                    <a:pt x="2" y="28"/>
                  </a:cubicBezTo>
                  <a:close/>
                  <a:moveTo>
                    <a:pt x="18" y="16"/>
                  </a:moveTo>
                  <a:cubicBezTo>
                    <a:pt x="19" y="16"/>
                    <a:pt x="20" y="17"/>
                    <a:pt x="20" y="18"/>
                  </a:cubicBezTo>
                  <a:cubicBezTo>
                    <a:pt x="20" y="19"/>
                    <a:pt x="19" y="20"/>
                    <a:pt x="18" y="20"/>
                  </a:cubicBezTo>
                  <a:cubicBezTo>
                    <a:pt x="17" y="20"/>
                    <a:pt x="16" y="19"/>
                    <a:pt x="16" y="18"/>
                  </a:cubicBezTo>
                  <a:cubicBezTo>
                    <a:pt x="16" y="17"/>
                    <a:pt x="17" y="16"/>
                    <a:pt x="18" y="16"/>
                  </a:cubicBezTo>
                  <a:close/>
                  <a:moveTo>
                    <a:pt x="18" y="24"/>
                  </a:moveTo>
                  <a:cubicBezTo>
                    <a:pt x="19" y="24"/>
                    <a:pt x="20" y="25"/>
                    <a:pt x="20" y="26"/>
                  </a:cubicBezTo>
                  <a:cubicBezTo>
                    <a:pt x="20" y="27"/>
                    <a:pt x="19" y="28"/>
                    <a:pt x="18" y="28"/>
                  </a:cubicBezTo>
                  <a:cubicBezTo>
                    <a:pt x="17" y="28"/>
                    <a:pt x="16" y="27"/>
                    <a:pt x="16" y="26"/>
                  </a:cubicBezTo>
                  <a:cubicBezTo>
                    <a:pt x="16" y="25"/>
                    <a:pt x="17" y="24"/>
                    <a:pt x="1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1" name="Freeform 7">
              <a:extLst>
                <a:ext uri="{FF2B5EF4-FFF2-40B4-BE49-F238E27FC236}">
                  <a16:creationId xmlns="" xmlns:a16="http://schemas.microsoft.com/office/drawing/2014/main" id="{195561B6-F7DF-4E03-AD21-19221233E3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0725" y="3429001"/>
              <a:ext cx="241300" cy="185738"/>
            </a:xfrm>
            <a:custGeom>
              <a:avLst/>
              <a:gdLst>
                <a:gd name="T0" fmla="*/ 48 w 64"/>
                <a:gd name="T1" fmla="*/ 4 h 48"/>
                <a:gd name="T2" fmla="*/ 56 w 64"/>
                <a:gd name="T3" fmla="*/ 4 h 48"/>
                <a:gd name="T4" fmla="*/ 58 w 64"/>
                <a:gd name="T5" fmla="*/ 3 h 48"/>
                <a:gd name="T6" fmla="*/ 58 w 64"/>
                <a:gd name="T7" fmla="*/ 1 h 48"/>
                <a:gd name="T8" fmla="*/ 57 w 64"/>
                <a:gd name="T9" fmla="*/ 0 h 48"/>
                <a:gd name="T10" fmla="*/ 10 w 64"/>
                <a:gd name="T11" fmla="*/ 13 h 48"/>
                <a:gd name="T12" fmla="*/ 0 w 64"/>
                <a:gd name="T13" fmla="*/ 25 h 48"/>
                <a:gd name="T14" fmla="*/ 0 w 64"/>
                <a:gd name="T15" fmla="*/ 27 h 48"/>
                <a:gd name="T16" fmla="*/ 2 w 64"/>
                <a:gd name="T17" fmla="*/ 28 h 48"/>
                <a:gd name="T18" fmla="*/ 28 w 64"/>
                <a:gd name="T19" fmla="*/ 28 h 48"/>
                <a:gd name="T20" fmla="*/ 28 w 64"/>
                <a:gd name="T21" fmla="*/ 44 h 48"/>
                <a:gd name="T22" fmla="*/ 32 w 64"/>
                <a:gd name="T23" fmla="*/ 48 h 48"/>
                <a:gd name="T24" fmla="*/ 36 w 64"/>
                <a:gd name="T25" fmla="*/ 44 h 48"/>
                <a:gd name="T26" fmla="*/ 36 w 64"/>
                <a:gd name="T27" fmla="*/ 28 h 48"/>
                <a:gd name="T28" fmla="*/ 62 w 64"/>
                <a:gd name="T29" fmla="*/ 28 h 48"/>
                <a:gd name="T30" fmla="*/ 64 w 64"/>
                <a:gd name="T31" fmla="*/ 27 h 48"/>
                <a:gd name="T32" fmla="*/ 64 w 64"/>
                <a:gd name="T33" fmla="*/ 25 h 48"/>
                <a:gd name="T34" fmla="*/ 48 w 64"/>
                <a:gd name="T35" fmla="*/ 4 h 48"/>
                <a:gd name="T36" fmla="*/ 16 w 64"/>
                <a:gd name="T37" fmla="*/ 20 h 48"/>
                <a:gd name="T38" fmla="*/ 14 w 64"/>
                <a:gd name="T39" fmla="*/ 18 h 48"/>
                <a:gd name="T40" fmla="*/ 16 w 64"/>
                <a:gd name="T41" fmla="*/ 16 h 48"/>
                <a:gd name="T42" fmla="*/ 18 w 64"/>
                <a:gd name="T43" fmla="*/ 18 h 48"/>
                <a:gd name="T44" fmla="*/ 16 w 64"/>
                <a:gd name="T45" fmla="*/ 20 h 48"/>
                <a:gd name="T46" fmla="*/ 28 w 64"/>
                <a:gd name="T47" fmla="*/ 20 h 48"/>
                <a:gd name="T48" fmla="*/ 26 w 64"/>
                <a:gd name="T49" fmla="*/ 18 h 48"/>
                <a:gd name="T50" fmla="*/ 28 w 64"/>
                <a:gd name="T51" fmla="*/ 16 h 48"/>
                <a:gd name="T52" fmla="*/ 30 w 64"/>
                <a:gd name="T53" fmla="*/ 18 h 48"/>
                <a:gd name="T54" fmla="*/ 28 w 64"/>
                <a:gd name="T55" fmla="*/ 20 h 48"/>
                <a:gd name="T56" fmla="*/ 40 w 64"/>
                <a:gd name="T57" fmla="*/ 12 h 48"/>
                <a:gd name="T58" fmla="*/ 38 w 64"/>
                <a:gd name="T59" fmla="*/ 10 h 48"/>
                <a:gd name="T60" fmla="*/ 40 w 64"/>
                <a:gd name="T61" fmla="*/ 8 h 48"/>
                <a:gd name="T62" fmla="*/ 42 w 64"/>
                <a:gd name="T63" fmla="*/ 10 h 48"/>
                <a:gd name="T64" fmla="*/ 40 w 64"/>
                <a:gd name="T65" fmla="*/ 12 h 48"/>
                <a:gd name="T66" fmla="*/ 44 w 64"/>
                <a:gd name="T67" fmla="*/ 20 h 48"/>
                <a:gd name="T68" fmla="*/ 42 w 64"/>
                <a:gd name="T69" fmla="*/ 18 h 48"/>
                <a:gd name="T70" fmla="*/ 44 w 64"/>
                <a:gd name="T71" fmla="*/ 16 h 48"/>
                <a:gd name="T72" fmla="*/ 46 w 64"/>
                <a:gd name="T73" fmla="*/ 18 h 48"/>
                <a:gd name="T74" fmla="*/ 44 w 64"/>
                <a:gd name="T75" fmla="*/ 2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4" h="48">
                  <a:moveTo>
                    <a:pt x="48" y="4"/>
                  </a:moveTo>
                  <a:cubicBezTo>
                    <a:pt x="56" y="4"/>
                    <a:pt x="56" y="4"/>
                    <a:pt x="56" y="4"/>
                  </a:cubicBezTo>
                  <a:cubicBezTo>
                    <a:pt x="57" y="4"/>
                    <a:pt x="57" y="4"/>
                    <a:pt x="58" y="3"/>
                  </a:cubicBezTo>
                  <a:cubicBezTo>
                    <a:pt x="58" y="2"/>
                    <a:pt x="58" y="2"/>
                    <a:pt x="58" y="1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1" y="28"/>
                    <a:pt x="1" y="28"/>
                    <a:pt x="2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6"/>
                    <a:pt x="30" y="48"/>
                    <a:pt x="32" y="48"/>
                  </a:cubicBezTo>
                  <a:cubicBezTo>
                    <a:pt x="34" y="48"/>
                    <a:pt x="36" y="46"/>
                    <a:pt x="36" y="44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62" y="28"/>
                    <a:pt x="62" y="28"/>
                    <a:pt x="62" y="28"/>
                  </a:cubicBezTo>
                  <a:cubicBezTo>
                    <a:pt x="63" y="28"/>
                    <a:pt x="63" y="28"/>
                    <a:pt x="64" y="27"/>
                  </a:cubicBezTo>
                  <a:cubicBezTo>
                    <a:pt x="64" y="26"/>
                    <a:pt x="64" y="25"/>
                    <a:pt x="64" y="25"/>
                  </a:cubicBezTo>
                  <a:lnTo>
                    <a:pt x="48" y="4"/>
                  </a:lnTo>
                  <a:close/>
                  <a:moveTo>
                    <a:pt x="16" y="20"/>
                  </a:moveTo>
                  <a:cubicBezTo>
                    <a:pt x="15" y="20"/>
                    <a:pt x="14" y="19"/>
                    <a:pt x="14" y="18"/>
                  </a:cubicBezTo>
                  <a:cubicBezTo>
                    <a:pt x="14" y="17"/>
                    <a:pt x="15" y="16"/>
                    <a:pt x="16" y="16"/>
                  </a:cubicBezTo>
                  <a:cubicBezTo>
                    <a:pt x="17" y="16"/>
                    <a:pt x="18" y="17"/>
                    <a:pt x="18" y="18"/>
                  </a:cubicBezTo>
                  <a:cubicBezTo>
                    <a:pt x="18" y="19"/>
                    <a:pt x="17" y="20"/>
                    <a:pt x="16" y="20"/>
                  </a:cubicBezTo>
                  <a:close/>
                  <a:moveTo>
                    <a:pt x="28" y="20"/>
                  </a:moveTo>
                  <a:cubicBezTo>
                    <a:pt x="27" y="20"/>
                    <a:pt x="26" y="19"/>
                    <a:pt x="26" y="18"/>
                  </a:cubicBezTo>
                  <a:cubicBezTo>
                    <a:pt x="26" y="17"/>
                    <a:pt x="27" y="16"/>
                    <a:pt x="28" y="16"/>
                  </a:cubicBezTo>
                  <a:cubicBezTo>
                    <a:pt x="29" y="16"/>
                    <a:pt x="30" y="17"/>
                    <a:pt x="30" y="18"/>
                  </a:cubicBezTo>
                  <a:cubicBezTo>
                    <a:pt x="30" y="19"/>
                    <a:pt x="29" y="20"/>
                    <a:pt x="28" y="20"/>
                  </a:cubicBezTo>
                  <a:close/>
                  <a:moveTo>
                    <a:pt x="40" y="12"/>
                  </a:moveTo>
                  <a:cubicBezTo>
                    <a:pt x="39" y="12"/>
                    <a:pt x="38" y="11"/>
                    <a:pt x="38" y="10"/>
                  </a:cubicBezTo>
                  <a:cubicBezTo>
                    <a:pt x="38" y="9"/>
                    <a:pt x="39" y="8"/>
                    <a:pt x="40" y="8"/>
                  </a:cubicBezTo>
                  <a:cubicBezTo>
                    <a:pt x="41" y="8"/>
                    <a:pt x="42" y="9"/>
                    <a:pt x="42" y="10"/>
                  </a:cubicBezTo>
                  <a:cubicBezTo>
                    <a:pt x="42" y="11"/>
                    <a:pt x="41" y="12"/>
                    <a:pt x="40" y="12"/>
                  </a:cubicBezTo>
                  <a:close/>
                  <a:moveTo>
                    <a:pt x="44" y="20"/>
                  </a:moveTo>
                  <a:cubicBezTo>
                    <a:pt x="43" y="20"/>
                    <a:pt x="42" y="19"/>
                    <a:pt x="42" y="18"/>
                  </a:cubicBezTo>
                  <a:cubicBezTo>
                    <a:pt x="42" y="17"/>
                    <a:pt x="43" y="16"/>
                    <a:pt x="44" y="16"/>
                  </a:cubicBezTo>
                  <a:cubicBezTo>
                    <a:pt x="45" y="16"/>
                    <a:pt x="46" y="17"/>
                    <a:pt x="46" y="18"/>
                  </a:cubicBezTo>
                  <a:cubicBezTo>
                    <a:pt x="46" y="19"/>
                    <a:pt x="45" y="20"/>
                    <a:pt x="4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2" name="Group 251">
            <a:extLst>
              <a:ext uri="{FF2B5EF4-FFF2-40B4-BE49-F238E27FC236}">
                <a16:creationId xmlns="" xmlns:a16="http://schemas.microsoft.com/office/drawing/2014/main" id="{078A8D9D-E87A-4592-AC04-5F707DD0F440}"/>
              </a:ext>
            </a:extLst>
          </p:cNvPr>
          <p:cNvGrpSpPr/>
          <p:nvPr/>
        </p:nvGrpSpPr>
        <p:grpSpPr>
          <a:xfrm>
            <a:off x="5987177" y="4892539"/>
            <a:ext cx="350837" cy="360363"/>
            <a:chOff x="5199063" y="3254376"/>
            <a:chExt cx="350837" cy="360363"/>
          </a:xfrm>
          <a:solidFill>
            <a:schemeClr val="bg1"/>
          </a:solidFill>
        </p:grpSpPr>
        <p:sp>
          <p:nvSpPr>
            <p:cNvPr id="253" name="Freeform 8">
              <a:extLst>
                <a:ext uri="{FF2B5EF4-FFF2-40B4-BE49-F238E27FC236}">
                  <a16:creationId xmlns="" xmlns:a16="http://schemas.microsoft.com/office/drawing/2014/main" id="{7DB9A2AB-236F-4CA2-87D9-02B4C07D0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9875" y="3409951"/>
              <a:ext cx="200025" cy="204788"/>
            </a:xfrm>
            <a:custGeom>
              <a:avLst/>
              <a:gdLst>
                <a:gd name="T0" fmla="*/ 52 w 53"/>
                <a:gd name="T1" fmla="*/ 30 h 53"/>
                <a:gd name="T2" fmla="*/ 9 w 53"/>
                <a:gd name="T3" fmla="*/ 0 h 53"/>
                <a:gd name="T4" fmla="*/ 1 w 53"/>
                <a:gd name="T5" fmla="*/ 1 h 53"/>
                <a:gd name="T6" fmla="*/ 0 w 53"/>
                <a:gd name="T7" fmla="*/ 9 h 53"/>
                <a:gd name="T8" fmla="*/ 29 w 53"/>
                <a:gd name="T9" fmla="*/ 52 h 53"/>
                <a:gd name="T10" fmla="*/ 31 w 53"/>
                <a:gd name="T11" fmla="*/ 53 h 53"/>
                <a:gd name="T12" fmla="*/ 31 w 53"/>
                <a:gd name="T13" fmla="*/ 53 h 53"/>
                <a:gd name="T14" fmla="*/ 33 w 53"/>
                <a:gd name="T15" fmla="*/ 52 h 53"/>
                <a:gd name="T16" fmla="*/ 37 w 53"/>
                <a:gd name="T17" fmla="*/ 37 h 53"/>
                <a:gd name="T18" fmla="*/ 51 w 53"/>
                <a:gd name="T19" fmla="*/ 33 h 53"/>
                <a:gd name="T20" fmla="*/ 53 w 53"/>
                <a:gd name="T21" fmla="*/ 32 h 53"/>
                <a:gd name="T22" fmla="*/ 52 w 53"/>
                <a:gd name="T23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3" h="53">
                  <a:moveTo>
                    <a:pt x="52" y="3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30" y="53"/>
                    <a:pt x="30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2" y="53"/>
                    <a:pt x="33" y="52"/>
                    <a:pt x="33" y="52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33"/>
                    <a:pt x="53" y="32"/>
                    <a:pt x="53" y="32"/>
                  </a:cubicBezTo>
                  <a:cubicBezTo>
                    <a:pt x="53" y="31"/>
                    <a:pt x="53" y="30"/>
                    <a:pt x="5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4" name="Freeform 9">
              <a:extLst>
                <a:ext uri="{FF2B5EF4-FFF2-40B4-BE49-F238E27FC236}">
                  <a16:creationId xmlns="" xmlns:a16="http://schemas.microsoft.com/office/drawing/2014/main" id="{07EA776D-DFC1-489C-8999-5679B4D56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9063" y="3254376"/>
              <a:ext cx="222250" cy="228600"/>
            </a:xfrm>
            <a:custGeom>
              <a:avLst/>
              <a:gdLst>
                <a:gd name="T0" fmla="*/ 58 w 59"/>
                <a:gd name="T1" fmla="*/ 31 h 59"/>
                <a:gd name="T2" fmla="*/ 40 w 59"/>
                <a:gd name="T3" fmla="*/ 22 h 59"/>
                <a:gd name="T4" fmla="*/ 43 w 59"/>
                <a:gd name="T5" fmla="*/ 3 h 59"/>
                <a:gd name="T6" fmla="*/ 42 w 59"/>
                <a:gd name="T7" fmla="*/ 0 h 59"/>
                <a:gd name="T8" fmla="*/ 40 w 59"/>
                <a:gd name="T9" fmla="*/ 1 h 59"/>
                <a:gd name="T10" fmla="*/ 26 w 59"/>
                <a:gd name="T11" fmla="*/ 15 h 59"/>
                <a:gd name="T12" fmla="*/ 8 w 59"/>
                <a:gd name="T13" fmla="*/ 6 h 59"/>
                <a:gd name="T14" fmla="*/ 6 w 59"/>
                <a:gd name="T15" fmla="*/ 6 h 59"/>
                <a:gd name="T16" fmla="*/ 6 w 59"/>
                <a:gd name="T17" fmla="*/ 8 h 59"/>
                <a:gd name="T18" fmla="*/ 14 w 59"/>
                <a:gd name="T19" fmla="*/ 26 h 59"/>
                <a:gd name="T20" fmla="*/ 1 w 59"/>
                <a:gd name="T21" fmla="*/ 40 h 59"/>
                <a:gd name="T22" fmla="*/ 0 w 59"/>
                <a:gd name="T23" fmla="*/ 42 h 59"/>
                <a:gd name="T24" fmla="*/ 2 w 59"/>
                <a:gd name="T25" fmla="*/ 43 h 59"/>
                <a:gd name="T26" fmla="*/ 22 w 59"/>
                <a:gd name="T27" fmla="*/ 40 h 59"/>
                <a:gd name="T28" fmla="*/ 31 w 59"/>
                <a:gd name="T29" fmla="*/ 58 h 59"/>
                <a:gd name="T30" fmla="*/ 33 w 59"/>
                <a:gd name="T31" fmla="*/ 59 h 59"/>
                <a:gd name="T32" fmla="*/ 33 w 59"/>
                <a:gd name="T33" fmla="*/ 59 h 59"/>
                <a:gd name="T34" fmla="*/ 35 w 59"/>
                <a:gd name="T35" fmla="*/ 57 h 59"/>
                <a:gd name="T36" fmla="*/ 38 w 59"/>
                <a:gd name="T37" fmla="*/ 38 h 59"/>
                <a:gd name="T38" fmla="*/ 57 w 59"/>
                <a:gd name="T39" fmla="*/ 35 h 59"/>
                <a:gd name="T40" fmla="*/ 59 w 59"/>
                <a:gd name="T41" fmla="*/ 33 h 59"/>
                <a:gd name="T42" fmla="*/ 58 w 59"/>
                <a:gd name="T43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9" h="59">
                  <a:moveTo>
                    <a:pt x="58" y="31"/>
                  </a:moveTo>
                  <a:cubicBezTo>
                    <a:pt x="40" y="22"/>
                    <a:pt x="40" y="22"/>
                    <a:pt x="40" y="22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2"/>
                    <a:pt x="43" y="1"/>
                    <a:pt x="42" y="0"/>
                  </a:cubicBezTo>
                  <a:cubicBezTo>
                    <a:pt x="41" y="0"/>
                    <a:pt x="40" y="0"/>
                    <a:pt x="40" y="1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5"/>
                    <a:pt x="7" y="6"/>
                    <a:pt x="6" y="6"/>
                  </a:cubicBezTo>
                  <a:cubicBezTo>
                    <a:pt x="5" y="7"/>
                    <a:pt x="5" y="8"/>
                    <a:pt x="6" y="8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0"/>
                    <a:pt x="0" y="41"/>
                    <a:pt x="0" y="42"/>
                  </a:cubicBezTo>
                  <a:cubicBezTo>
                    <a:pt x="1" y="43"/>
                    <a:pt x="1" y="43"/>
                    <a:pt x="2" y="43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9"/>
                    <a:pt x="32" y="59"/>
                    <a:pt x="33" y="59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4" y="59"/>
                    <a:pt x="35" y="58"/>
                    <a:pt x="35" y="57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58" y="35"/>
                    <a:pt x="58" y="34"/>
                    <a:pt x="59" y="33"/>
                  </a:cubicBezTo>
                  <a:cubicBezTo>
                    <a:pt x="59" y="32"/>
                    <a:pt x="58" y="31"/>
                    <a:pt x="58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30" name="Group 329">
            <a:extLst>
              <a:ext uri="{FF2B5EF4-FFF2-40B4-BE49-F238E27FC236}">
                <a16:creationId xmlns="" xmlns:a16="http://schemas.microsoft.com/office/drawing/2014/main" id="{98C82C47-847A-48E0-A010-BBB3742BE36D}"/>
              </a:ext>
            </a:extLst>
          </p:cNvPr>
          <p:cNvGrpSpPr/>
          <p:nvPr/>
        </p:nvGrpSpPr>
        <p:grpSpPr>
          <a:xfrm>
            <a:off x="544127" y="466977"/>
            <a:ext cx="11103746" cy="5924047"/>
            <a:chOff x="544127" y="282919"/>
            <a:chExt cx="11103746" cy="5924047"/>
          </a:xfrm>
          <a:solidFill>
            <a:schemeClr val="accent3">
              <a:lumMod val="40000"/>
              <a:lumOff val="60000"/>
            </a:schemeClr>
          </a:solidFill>
        </p:grpSpPr>
        <p:grpSp>
          <p:nvGrpSpPr>
            <p:cNvPr id="331" name="Group 330">
              <a:extLst>
                <a:ext uri="{FF2B5EF4-FFF2-40B4-BE49-F238E27FC236}">
                  <a16:creationId xmlns="" xmlns:a16="http://schemas.microsoft.com/office/drawing/2014/main" id="{7EEC2A24-3F09-4001-A666-A9772E7E0BD4}"/>
                </a:ext>
              </a:extLst>
            </p:cNvPr>
            <p:cNvGrpSpPr/>
            <p:nvPr/>
          </p:nvGrpSpPr>
          <p:grpSpPr>
            <a:xfrm>
              <a:off x="544127" y="282919"/>
              <a:ext cx="11103746" cy="1914300"/>
              <a:chOff x="814298" y="3025483"/>
              <a:chExt cx="11103746" cy="1914300"/>
            </a:xfrm>
            <a:grpFill/>
          </p:grpSpPr>
          <p:sp>
            <p:nvSpPr>
              <p:cNvPr id="378" name="Oval 58">
                <a:extLst>
                  <a:ext uri="{FF2B5EF4-FFF2-40B4-BE49-F238E27FC236}">
                    <a16:creationId xmlns="" xmlns:a16="http://schemas.microsoft.com/office/drawing/2014/main" id="{3E5FE7ED-2D0A-4A7F-98FF-74D607303B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428" y="4608849"/>
                <a:ext cx="72644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Oval 59">
                <a:extLst>
                  <a:ext uri="{FF2B5EF4-FFF2-40B4-BE49-F238E27FC236}">
                    <a16:creationId xmlns="" xmlns:a16="http://schemas.microsoft.com/office/drawing/2014/main" id="{744C72AB-A2A8-46BD-8DF8-F530C90D9D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0332" y="4828126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Oval 60">
                <a:extLst>
                  <a:ext uri="{FF2B5EF4-FFF2-40B4-BE49-F238E27FC236}">
                    <a16:creationId xmlns="" xmlns:a16="http://schemas.microsoft.com/office/drawing/2014/main" id="{8E24C8C0-747C-49CE-82D0-3400BF0E39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5075" y="3921423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Oval 61">
                <a:extLst>
                  <a:ext uri="{FF2B5EF4-FFF2-40B4-BE49-F238E27FC236}">
                    <a16:creationId xmlns="" xmlns:a16="http://schemas.microsoft.com/office/drawing/2014/main" id="{05F7E92D-D2A7-437B-9B85-952E9F4875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4298" y="4182814"/>
                <a:ext cx="72644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Oval 62">
                <a:extLst>
                  <a:ext uri="{FF2B5EF4-FFF2-40B4-BE49-F238E27FC236}">
                    <a16:creationId xmlns="" xmlns:a16="http://schemas.microsoft.com/office/drawing/2014/main" id="{F51651E9-147E-40F1-A229-CE7E96EF0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9695" y="4214689"/>
                <a:ext cx="7533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Oval 63">
                <a:extLst>
                  <a:ext uri="{FF2B5EF4-FFF2-40B4-BE49-F238E27FC236}">
                    <a16:creationId xmlns="" xmlns:a16="http://schemas.microsoft.com/office/drawing/2014/main" id="{FBD752F6-F217-41B5-9A27-CF55396735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7805" y="4007520"/>
                <a:ext cx="76680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Oval 64">
                <a:extLst>
                  <a:ext uri="{FF2B5EF4-FFF2-40B4-BE49-F238E27FC236}">
                    <a16:creationId xmlns="" xmlns:a16="http://schemas.microsoft.com/office/drawing/2014/main" id="{8D704A7F-51AA-40C6-8A0B-9AA8FAFE47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4694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Oval 65">
                <a:extLst>
                  <a:ext uri="{FF2B5EF4-FFF2-40B4-BE49-F238E27FC236}">
                    <a16:creationId xmlns="" xmlns:a16="http://schemas.microsoft.com/office/drawing/2014/main" id="{BCD21634-A69F-49AA-9399-BA065E5938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515" y="339677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Oval 66">
                <a:extLst>
                  <a:ext uri="{FF2B5EF4-FFF2-40B4-BE49-F238E27FC236}">
                    <a16:creationId xmlns="" xmlns:a16="http://schemas.microsoft.com/office/drawing/2014/main" id="{8EAA5FE1-B5BA-4CFE-AA2A-275505C7B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9835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Oval 67">
                <a:extLst>
                  <a:ext uri="{FF2B5EF4-FFF2-40B4-BE49-F238E27FC236}">
                    <a16:creationId xmlns="" xmlns:a16="http://schemas.microsoft.com/office/drawing/2014/main" id="{A560E825-E45B-48E8-9F9E-BF18D55BF4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9625" y="4272535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Oval 68">
                <a:extLst>
                  <a:ext uri="{FF2B5EF4-FFF2-40B4-BE49-F238E27FC236}">
                    <a16:creationId xmlns="" xmlns:a16="http://schemas.microsoft.com/office/drawing/2014/main" id="{62440F27-51FC-49D3-BE7C-F7A4A0E8B9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64818" y="381649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Oval 69">
                <a:extLst>
                  <a:ext uri="{FF2B5EF4-FFF2-40B4-BE49-F238E27FC236}">
                    <a16:creationId xmlns="" xmlns:a16="http://schemas.microsoft.com/office/drawing/2014/main" id="{870ABFA1-788C-459E-9971-738B113625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45400" y="421468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Oval 70">
                <a:extLst>
                  <a:ext uri="{FF2B5EF4-FFF2-40B4-BE49-F238E27FC236}">
                    <a16:creationId xmlns="" xmlns:a16="http://schemas.microsoft.com/office/drawing/2014/main" id="{A6BBB49C-4491-4A42-90F9-452BEFEFE9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2967" y="3603943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Oval 71">
                <a:extLst>
                  <a:ext uri="{FF2B5EF4-FFF2-40B4-BE49-F238E27FC236}">
                    <a16:creationId xmlns="" xmlns:a16="http://schemas.microsoft.com/office/drawing/2014/main" id="{3BD19E50-7380-4D0D-BE6D-484D5C7F5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7618" y="486713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Oval 72">
                <a:extLst>
                  <a:ext uri="{FF2B5EF4-FFF2-40B4-BE49-F238E27FC236}">
                    <a16:creationId xmlns="" xmlns:a16="http://schemas.microsoft.com/office/drawing/2014/main" id="{485AAC05-6BD8-47D3-8EE4-635905B464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6685" y="464382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Oval 73">
                <a:extLst>
                  <a:ext uri="{FF2B5EF4-FFF2-40B4-BE49-F238E27FC236}">
                    <a16:creationId xmlns="" xmlns:a16="http://schemas.microsoft.com/office/drawing/2014/main" id="{1C48824A-CBDD-4BC7-B0F5-9B60C9714F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808" y="3025483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Oval 74">
                <a:extLst>
                  <a:ext uri="{FF2B5EF4-FFF2-40B4-BE49-F238E27FC236}">
                    <a16:creationId xmlns="" xmlns:a16="http://schemas.microsoft.com/office/drawing/2014/main" id="{31FE5F08-2A6E-49DB-B928-F81ED17FC2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7338" y="3531299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Oval 75">
                <a:extLst>
                  <a:ext uri="{FF2B5EF4-FFF2-40B4-BE49-F238E27FC236}">
                    <a16:creationId xmlns="" xmlns:a16="http://schemas.microsoft.com/office/drawing/2014/main" id="{8DD72AA3-7614-47A4-9664-52AE8F50C4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5425" y="4214689"/>
                <a:ext cx="76680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Oval 76">
                <a:extLst>
                  <a:ext uri="{FF2B5EF4-FFF2-40B4-BE49-F238E27FC236}">
                    <a16:creationId xmlns="" xmlns:a16="http://schemas.microsoft.com/office/drawing/2014/main" id="{E01E7CDF-D28C-41B2-A70D-3E9220A6A1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49444" y="3846089"/>
                <a:ext cx="73989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Oval 77">
                <a:extLst>
                  <a:ext uri="{FF2B5EF4-FFF2-40B4-BE49-F238E27FC236}">
                    <a16:creationId xmlns="" xmlns:a16="http://schemas.microsoft.com/office/drawing/2014/main" id="{9434C99C-3FCD-4199-8A65-DB0DA11B6C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8807" y="4421859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Oval 78">
                <a:extLst>
                  <a:ext uri="{FF2B5EF4-FFF2-40B4-BE49-F238E27FC236}">
                    <a16:creationId xmlns="" xmlns:a16="http://schemas.microsoft.com/office/drawing/2014/main" id="{984204A5-ACB8-447D-ADE6-2BD28ABB89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2244" y="411917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Oval 79">
                <a:extLst>
                  <a:ext uri="{FF2B5EF4-FFF2-40B4-BE49-F238E27FC236}">
                    <a16:creationId xmlns="" xmlns:a16="http://schemas.microsoft.com/office/drawing/2014/main" id="{A42F464F-EDEC-4DE3-99A8-5C4AF9C1E9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0191" y="3883756"/>
                <a:ext cx="73989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2" name="Group 331">
              <a:extLst>
                <a:ext uri="{FF2B5EF4-FFF2-40B4-BE49-F238E27FC236}">
                  <a16:creationId xmlns="" xmlns:a16="http://schemas.microsoft.com/office/drawing/2014/main" id="{D5FF0F4C-CEA0-48A1-8B0A-5481059ECA39}"/>
                </a:ext>
              </a:extLst>
            </p:cNvPr>
            <p:cNvGrpSpPr/>
            <p:nvPr/>
          </p:nvGrpSpPr>
          <p:grpSpPr>
            <a:xfrm>
              <a:off x="544127" y="2287792"/>
              <a:ext cx="11103746" cy="1914300"/>
              <a:chOff x="814298" y="3025483"/>
              <a:chExt cx="11103746" cy="1914300"/>
            </a:xfrm>
            <a:grpFill/>
          </p:grpSpPr>
          <p:sp>
            <p:nvSpPr>
              <p:cNvPr id="356" name="Oval 58">
                <a:extLst>
                  <a:ext uri="{FF2B5EF4-FFF2-40B4-BE49-F238E27FC236}">
                    <a16:creationId xmlns="" xmlns:a16="http://schemas.microsoft.com/office/drawing/2014/main" id="{37B2A23C-7E4A-4262-B527-D8A6BF4EB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428" y="4608849"/>
                <a:ext cx="72644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Oval 59">
                <a:extLst>
                  <a:ext uri="{FF2B5EF4-FFF2-40B4-BE49-F238E27FC236}">
                    <a16:creationId xmlns="" xmlns:a16="http://schemas.microsoft.com/office/drawing/2014/main" id="{B2F5631A-CB41-49C4-B3A9-1AE10800FE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0332" y="4828126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Oval 60">
                <a:extLst>
                  <a:ext uri="{FF2B5EF4-FFF2-40B4-BE49-F238E27FC236}">
                    <a16:creationId xmlns="" xmlns:a16="http://schemas.microsoft.com/office/drawing/2014/main" id="{A2F59B61-7194-4CFA-81EB-50CF98E8F6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5075" y="3921423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Oval 61">
                <a:extLst>
                  <a:ext uri="{FF2B5EF4-FFF2-40B4-BE49-F238E27FC236}">
                    <a16:creationId xmlns="" xmlns:a16="http://schemas.microsoft.com/office/drawing/2014/main" id="{1B522CB5-90C1-472F-B265-EB555DADD5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4298" y="4182814"/>
                <a:ext cx="72644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Oval 62">
                <a:extLst>
                  <a:ext uri="{FF2B5EF4-FFF2-40B4-BE49-F238E27FC236}">
                    <a16:creationId xmlns="" xmlns:a16="http://schemas.microsoft.com/office/drawing/2014/main" id="{39C59ECB-D905-48D2-8E6D-88D2262FDB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9695" y="4214689"/>
                <a:ext cx="7533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Oval 63">
                <a:extLst>
                  <a:ext uri="{FF2B5EF4-FFF2-40B4-BE49-F238E27FC236}">
                    <a16:creationId xmlns="" xmlns:a16="http://schemas.microsoft.com/office/drawing/2014/main" id="{E676246A-E668-4974-A5EB-8E11B3DED4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7805" y="4007520"/>
                <a:ext cx="76680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Oval 64">
                <a:extLst>
                  <a:ext uri="{FF2B5EF4-FFF2-40B4-BE49-F238E27FC236}">
                    <a16:creationId xmlns="" xmlns:a16="http://schemas.microsoft.com/office/drawing/2014/main" id="{CECAC02B-7269-41BE-AAB4-088B176778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4694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Oval 65">
                <a:extLst>
                  <a:ext uri="{FF2B5EF4-FFF2-40B4-BE49-F238E27FC236}">
                    <a16:creationId xmlns="" xmlns:a16="http://schemas.microsoft.com/office/drawing/2014/main" id="{86B2358A-2DDD-4D7C-B31A-43DA576C33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515" y="339677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Oval 66">
                <a:extLst>
                  <a:ext uri="{FF2B5EF4-FFF2-40B4-BE49-F238E27FC236}">
                    <a16:creationId xmlns="" xmlns:a16="http://schemas.microsoft.com/office/drawing/2014/main" id="{7CCC3DCD-DD99-42ED-B564-7CC3F31282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9835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Oval 67">
                <a:extLst>
                  <a:ext uri="{FF2B5EF4-FFF2-40B4-BE49-F238E27FC236}">
                    <a16:creationId xmlns="" xmlns:a16="http://schemas.microsoft.com/office/drawing/2014/main" id="{BD8D65EF-E7DE-4BDF-972B-11A5AD2642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9625" y="4272535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Oval 68">
                <a:extLst>
                  <a:ext uri="{FF2B5EF4-FFF2-40B4-BE49-F238E27FC236}">
                    <a16:creationId xmlns="" xmlns:a16="http://schemas.microsoft.com/office/drawing/2014/main" id="{E90DC25C-9758-4881-8F17-EA9708BCAB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64818" y="381649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Oval 69">
                <a:extLst>
                  <a:ext uri="{FF2B5EF4-FFF2-40B4-BE49-F238E27FC236}">
                    <a16:creationId xmlns="" xmlns:a16="http://schemas.microsoft.com/office/drawing/2014/main" id="{4DF7B717-E287-49F5-8EDC-270547E02B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45400" y="421468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Oval 70">
                <a:extLst>
                  <a:ext uri="{FF2B5EF4-FFF2-40B4-BE49-F238E27FC236}">
                    <a16:creationId xmlns="" xmlns:a16="http://schemas.microsoft.com/office/drawing/2014/main" id="{782B3D62-6A98-4FDC-A951-24BC8D5D24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2967" y="3603943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Oval 71">
                <a:extLst>
                  <a:ext uri="{FF2B5EF4-FFF2-40B4-BE49-F238E27FC236}">
                    <a16:creationId xmlns="" xmlns:a16="http://schemas.microsoft.com/office/drawing/2014/main" id="{14AAE281-8E49-4F21-BA52-14DD352543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7618" y="486713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Oval 72">
                <a:extLst>
                  <a:ext uri="{FF2B5EF4-FFF2-40B4-BE49-F238E27FC236}">
                    <a16:creationId xmlns="" xmlns:a16="http://schemas.microsoft.com/office/drawing/2014/main" id="{3F39DB63-35A7-4669-9809-CD46D79E3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6685" y="464382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Oval 73">
                <a:extLst>
                  <a:ext uri="{FF2B5EF4-FFF2-40B4-BE49-F238E27FC236}">
                    <a16:creationId xmlns="" xmlns:a16="http://schemas.microsoft.com/office/drawing/2014/main" id="{5B1EC70C-BFFC-4345-8128-451B49688A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808" y="3025483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Oval 74">
                <a:extLst>
                  <a:ext uri="{FF2B5EF4-FFF2-40B4-BE49-F238E27FC236}">
                    <a16:creationId xmlns="" xmlns:a16="http://schemas.microsoft.com/office/drawing/2014/main" id="{863F97EB-EED4-42D8-AC70-17BF4EB6E3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7338" y="3531299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Oval 75">
                <a:extLst>
                  <a:ext uri="{FF2B5EF4-FFF2-40B4-BE49-F238E27FC236}">
                    <a16:creationId xmlns="" xmlns:a16="http://schemas.microsoft.com/office/drawing/2014/main" id="{4A3C4F72-C1F5-4371-B1E8-4059DC656E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5425" y="4214689"/>
                <a:ext cx="76680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Oval 76">
                <a:extLst>
                  <a:ext uri="{FF2B5EF4-FFF2-40B4-BE49-F238E27FC236}">
                    <a16:creationId xmlns="" xmlns:a16="http://schemas.microsoft.com/office/drawing/2014/main" id="{C42B89DB-D5D5-4720-BF71-FBC9C1DFE4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49444" y="3846089"/>
                <a:ext cx="73989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Oval 77">
                <a:extLst>
                  <a:ext uri="{FF2B5EF4-FFF2-40B4-BE49-F238E27FC236}">
                    <a16:creationId xmlns="" xmlns:a16="http://schemas.microsoft.com/office/drawing/2014/main" id="{043B4D3F-BF3C-43A1-914C-9E5C559592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8807" y="4421859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Oval 78">
                <a:extLst>
                  <a:ext uri="{FF2B5EF4-FFF2-40B4-BE49-F238E27FC236}">
                    <a16:creationId xmlns="" xmlns:a16="http://schemas.microsoft.com/office/drawing/2014/main" id="{FDF582B5-EB22-4091-9DEE-B38BC0DD55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2244" y="411917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Oval 79">
                <a:extLst>
                  <a:ext uri="{FF2B5EF4-FFF2-40B4-BE49-F238E27FC236}">
                    <a16:creationId xmlns="" xmlns:a16="http://schemas.microsoft.com/office/drawing/2014/main" id="{CC0D233D-178E-4379-A17E-C0E7E1A34C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0191" y="3883756"/>
                <a:ext cx="73989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3" name="Group 332">
              <a:extLst>
                <a:ext uri="{FF2B5EF4-FFF2-40B4-BE49-F238E27FC236}">
                  <a16:creationId xmlns="" xmlns:a16="http://schemas.microsoft.com/office/drawing/2014/main" id="{46AE09A3-79A3-4CF4-96F5-0BC3B898E98C}"/>
                </a:ext>
              </a:extLst>
            </p:cNvPr>
            <p:cNvGrpSpPr/>
            <p:nvPr/>
          </p:nvGrpSpPr>
          <p:grpSpPr>
            <a:xfrm>
              <a:off x="544127" y="4292666"/>
              <a:ext cx="11103746" cy="1914300"/>
              <a:chOff x="814298" y="3025483"/>
              <a:chExt cx="11103746" cy="1914300"/>
            </a:xfrm>
            <a:grpFill/>
          </p:grpSpPr>
          <p:sp>
            <p:nvSpPr>
              <p:cNvPr id="334" name="Oval 58">
                <a:extLst>
                  <a:ext uri="{FF2B5EF4-FFF2-40B4-BE49-F238E27FC236}">
                    <a16:creationId xmlns="" xmlns:a16="http://schemas.microsoft.com/office/drawing/2014/main" id="{6ED4D78A-E4AE-4A2A-AA07-D2A83480F0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428" y="4608849"/>
                <a:ext cx="72644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Oval 59">
                <a:extLst>
                  <a:ext uri="{FF2B5EF4-FFF2-40B4-BE49-F238E27FC236}">
                    <a16:creationId xmlns="" xmlns:a16="http://schemas.microsoft.com/office/drawing/2014/main" id="{8C1B7A8E-E8D3-4F41-9A0A-5235A112E3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0332" y="4828126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Oval 60">
                <a:extLst>
                  <a:ext uri="{FF2B5EF4-FFF2-40B4-BE49-F238E27FC236}">
                    <a16:creationId xmlns="" xmlns:a16="http://schemas.microsoft.com/office/drawing/2014/main" id="{BDD10440-AC78-4D29-8CC2-82912F3DDB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5075" y="3921423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Oval 61">
                <a:extLst>
                  <a:ext uri="{FF2B5EF4-FFF2-40B4-BE49-F238E27FC236}">
                    <a16:creationId xmlns="" xmlns:a16="http://schemas.microsoft.com/office/drawing/2014/main" id="{EE46E904-CC5B-4696-B8E6-0E63DBE045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4298" y="4182814"/>
                <a:ext cx="72644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Oval 62">
                <a:extLst>
                  <a:ext uri="{FF2B5EF4-FFF2-40B4-BE49-F238E27FC236}">
                    <a16:creationId xmlns="" xmlns:a16="http://schemas.microsoft.com/office/drawing/2014/main" id="{28D2ADBB-7AC7-4248-B1F4-3056622FA3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9695" y="4214689"/>
                <a:ext cx="7533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Oval 63">
                <a:extLst>
                  <a:ext uri="{FF2B5EF4-FFF2-40B4-BE49-F238E27FC236}">
                    <a16:creationId xmlns="" xmlns:a16="http://schemas.microsoft.com/office/drawing/2014/main" id="{F8DC5BBE-8A4B-414E-88BB-EB8AC4A13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7805" y="4007520"/>
                <a:ext cx="76680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Oval 64">
                <a:extLst>
                  <a:ext uri="{FF2B5EF4-FFF2-40B4-BE49-F238E27FC236}">
                    <a16:creationId xmlns="" xmlns:a16="http://schemas.microsoft.com/office/drawing/2014/main" id="{1F0EE553-F03F-4B9B-91BC-D0B28B772B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4694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Oval 65">
                <a:extLst>
                  <a:ext uri="{FF2B5EF4-FFF2-40B4-BE49-F238E27FC236}">
                    <a16:creationId xmlns="" xmlns:a16="http://schemas.microsoft.com/office/drawing/2014/main" id="{524E2014-A107-4AD8-9A28-1E17EBE643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515" y="339677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Oval 66">
                <a:extLst>
                  <a:ext uri="{FF2B5EF4-FFF2-40B4-BE49-F238E27FC236}">
                    <a16:creationId xmlns="" xmlns:a16="http://schemas.microsoft.com/office/drawing/2014/main" id="{0E61AA6C-784A-425E-86EB-977DCDF505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9835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Oval 67">
                <a:extLst>
                  <a:ext uri="{FF2B5EF4-FFF2-40B4-BE49-F238E27FC236}">
                    <a16:creationId xmlns="" xmlns:a16="http://schemas.microsoft.com/office/drawing/2014/main" id="{071E7611-6D0F-4D86-9D72-F8725B1740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9625" y="4272535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Oval 68">
                <a:extLst>
                  <a:ext uri="{FF2B5EF4-FFF2-40B4-BE49-F238E27FC236}">
                    <a16:creationId xmlns="" xmlns:a16="http://schemas.microsoft.com/office/drawing/2014/main" id="{8A55FF1E-B799-4529-AB31-3F4E760035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64818" y="381649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Oval 69">
                <a:extLst>
                  <a:ext uri="{FF2B5EF4-FFF2-40B4-BE49-F238E27FC236}">
                    <a16:creationId xmlns="" xmlns:a16="http://schemas.microsoft.com/office/drawing/2014/main" id="{EE601973-DAF3-4776-927D-4FE6C46618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45400" y="421468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Oval 70">
                <a:extLst>
                  <a:ext uri="{FF2B5EF4-FFF2-40B4-BE49-F238E27FC236}">
                    <a16:creationId xmlns="" xmlns:a16="http://schemas.microsoft.com/office/drawing/2014/main" id="{2E78D590-F6E7-41C8-BD88-733E9B203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2967" y="3603943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Oval 71">
                <a:extLst>
                  <a:ext uri="{FF2B5EF4-FFF2-40B4-BE49-F238E27FC236}">
                    <a16:creationId xmlns="" xmlns:a16="http://schemas.microsoft.com/office/drawing/2014/main" id="{7DD18819-335E-4831-AFF4-617A220BE3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7618" y="486713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Oval 72">
                <a:extLst>
                  <a:ext uri="{FF2B5EF4-FFF2-40B4-BE49-F238E27FC236}">
                    <a16:creationId xmlns="" xmlns:a16="http://schemas.microsoft.com/office/drawing/2014/main" id="{4E98C501-A8DB-4FFF-87E1-EEFCE686BA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6685" y="464382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Oval 73">
                <a:extLst>
                  <a:ext uri="{FF2B5EF4-FFF2-40B4-BE49-F238E27FC236}">
                    <a16:creationId xmlns="" xmlns:a16="http://schemas.microsoft.com/office/drawing/2014/main" id="{633A82ED-78F1-477D-BDEC-A79F186A77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808" y="3025483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Oval 74">
                <a:extLst>
                  <a:ext uri="{FF2B5EF4-FFF2-40B4-BE49-F238E27FC236}">
                    <a16:creationId xmlns="" xmlns:a16="http://schemas.microsoft.com/office/drawing/2014/main" id="{77457420-4357-4EA1-8399-7B213A716C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7338" y="3531299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Oval 75">
                <a:extLst>
                  <a:ext uri="{FF2B5EF4-FFF2-40B4-BE49-F238E27FC236}">
                    <a16:creationId xmlns="" xmlns:a16="http://schemas.microsoft.com/office/drawing/2014/main" id="{C45FE86D-C0E2-4F08-9B1D-1C08E24866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5425" y="4214689"/>
                <a:ext cx="76680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Oval 76">
                <a:extLst>
                  <a:ext uri="{FF2B5EF4-FFF2-40B4-BE49-F238E27FC236}">
                    <a16:creationId xmlns="" xmlns:a16="http://schemas.microsoft.com/office/drawing/2014/main" id="{484A3009-A9F9-4697-B415-BAAA6C574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49444" y="3846089"/>
                <a:ext cx="73989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Oval 77">
                <a:extLst>
                  <a:ext uri="{FF2B5EF4-FFF2-40B4-BE49-F238E27FC236}">
                    <a16:creationId xmlns="" xmlns:a16="http://schemas.microsoft.com/office/drawing/2014/main" id="{236C25BE-CAA3-41CB-B30B-861AE0BFDF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8807" y="4421859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Oval 78">
                <a:extLst>
                  <a:ext uri="{FF2B5EF4-FFF2-40B4-BE49-F238E27FC236}">
                    <a16:creationId xmlns="" xmlns:a16="http://schemas.microsoft.com/office/drawing/2014/main" id="{5C38EC93-573F-4A0B-B1B8-A8AE0733A6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2244" y="411917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Oval 79">
                <a:extLst>
                  <a:ext uri="{FF2B5EF4-FFF2-40B4-BE49-F238E27FC236}">
                    <a16:creationId xmlns="" xmlns:a16="http://schemas.microsoft.com/office/drawing/2014/main" id="{C8421B68-0EBD-45A0-9976-7058852388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0191" y="3883756"/>
                <a:ext cx="73989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11" name="Freeform: Shape 110">
            <a:extLst>
              <a:ext uri="{FF2B5EF4-FFF2-40B4-BE49-F238E27FC236}">
                <a16:creationId xmlns="" xmlns:a16="http://schemas.microsoft.com/office/drawing/2014/main" id="{08382CE4-A56C-467A-BAB0-C9DA343F8500}"/>
              </a:ext>
            </a:extLst>
          </p:cNvPr>
          <p:cNvSpPr/>
          <p:nvPr/>
        </p:nvSpPr>
        <p:spPr>
          <a:xfrm>
            <a:off x="3275988" y="28429"/>
            <a:ext cx="6362051" cy="965894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TextBox 79">
            <a:extLst>
              <a:ext uri="{FF2B5EF4-FFF2-40B4-BE49-F238E27FC236}">
                <a16:creationId xmlns="" xmlns:a16="http://schemas.microsoft.com/office/drawing/2014/main" id="{EF766FDC-B771-4763-B75A-CBE041D80EA0}"/>
              </a:ext>
            </a:extLst>
          </p:cNvPr>
          <p:cNvSpPr txBox="1"/>
          <p:nvPr/>
        </p:nvSpPr>
        <p:spPr>
          <a:xfrm>
            <a:off x="198643" y="1092476"/>
            <a:ext cx="5127871" cy="58477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fr-FR" sz="3800" b="1" dirty="0" smtClean="0">
                <a:solidFill>
                  <a:srgbClr val="D63A31"/>
                </a:solidFill>
                <a:latin typeface="+mj-lt"/>
              </a:rPr>
              <a:t>Problé</a:t>
            </a:r>
            <a:r>
              <a:rPr lang="fr-FR" sz="3800" b="1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matique</a:t>
            </a:r>
            <a:endParaRPr lang="id-ID" sz="3800" b="1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107" name="Nuage 106"/>
          <p:cNvSpPr/>
          <p:nvPr/>
        </p:nvSpPr>
        <p:spPr>
          <a:xfrm>
            <a:off x="11023718" y="6148200"/>
            <a:ext cx="624943" cy="438760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>
                <a:solidFill>
                  <a:schemeClr val="tx2"/>
                </a:solidFill>
                <a:latin typeface="Gabriola" panose="04040605051002020D02" pitchFamily="82" charset="0"/>
              </a:rPr>
              <a:t>5</a:t>
            </a:r>
          </a:p>
        </p:txBody>
      </p:sp>
      <p:grpSp>
        <p:nvGrpSpPr>
          <p:cNvPr id="108" name="Group 44">
            <a:extLst>
              <a:ext uri="{FF2B5EF4-FFF2-40B4-BE49-F238E27FC236}">
                <a16:creationId xmlns:a16="http://schemas.microsoft.com/office/drawing/2014/main" xmlns="" id="{14B816F5-947D-4584-ADB8-E42B4BF59BDE}"/>
              </a:ext>
            </a:extLst>
          </p:cNvPr>
          <p:cNvGrpSpPr/>
          <p:nvPr/>
        </p:nvGrpSpPr>
        <p:grpSpPr>
          <a:xfrm>
            <a:off x="1469664" y="2625271"/>
            <a:ext cx="9053633" cy="2907479"/>
            <a:chOff x="3604604" y="1624309"/>
            <a:chExt cx="7686087" cy="1412162"/>
          </a:xfrm>
        </p:grpSpPr>
        <p:sp>
          <p:nvSpPr>
            <p:cNvPr id="109" name="Freeform 5">
              <a:extLst>
                <a:ext uri="{FF2B5EF4-FFF2-40B4-BE49-F238E27FC236}">
                  <a16:creationId xmlns:a16="http://schemas.microsoft.com/office/drawing/2014/main" xmlns="" id="{764E11EC-F311-4907-8173-F4BE3547BC0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015021" y="2213892"/>
              <a:ext cx="1412162" cy="232995"/>
            </a:xfrm>
            <a:custGeom>
              <a:avLst/>
              <a:gdLst>
                <a:gd name="T0" fmla="*/ 2190 w 2388"/>
                <a:gd name="T1" fmla="*/ 0 h 394"/>
                <a:gd name="T2" fmla="*/ 197 w 2388"/>
                <a:gd name="T3" fmla="*/ 0 h 394"/>
                <a:gd name="T4" fmla="*/ 0 w 2388"/>
                <a:gd name="T5" fmla="*/ 394 h 394"/>
                <a:gd name="T6" fmla="*/ 2388 w 2388"/>
                <a:gd name="T7" fmla="*/ 394 h 394"/>
                <a:gd name="T8" fmla="*/ 2190 w 2388"/>
                <a:gd name="T9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8" h="394">
                  <a:moveTo>
                    <a:pt x="2190" y="0"/>
                  </a:moveTo>
                  <a:lnTo>
                    <a:pt x="197" y="0"/>
                  </a:lnTo>
                  <a:lnTo>
                    <a:pt x="0" y="394"/>
                  </a:lnTo>
                  <a:lnTo>
                    <a:pt x="2388" y="394"/>
                  </a:lnTo>
                  <a:lnTo>
                    <a:pt x="219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: Shape 220">
              <a:extLst>
                <a:ext uri="{FF2B5EF4-FFF2-40B4-BE49-F238E27FC236}">
                  <a16:creationId xmlns:a16="http://schemas.microsoft.com/office/drawing/2014/main" xmlns="" id="{98EBC18F-877C-49AF-8A5D-AD21B9F317F5}"/>
                </a:ext>
              </a:extLst>
            </p:cNvPr>
            <p:cNvSpPr/>
            <p:nvPr/>
          </p:nvSpPr>
          <p:spPr>
            <a:xfrm>
              <a:off x="3604604" y="1741396"/>
              <a:ext cx="7686087" cy="1178576"/>
            </a:xfrm>
            <a:custGeom>
              <a:avLst/>
              <a:gdLst>
                <a:gd name="connsiteX0" fmla="*/ 0 w 7686087"/>
                <a:gd name="connsiteY0" fmla="*/ 0 h 1178576"/>
                <a:gd name="connsiteX1" fmla="*/ 5132605 w 7686087"/>
                <a:gd name="connsiteY1" fmla="*/ 0 h 1178576"/>
                <a:gd name="connsiteX2" fmla="*/ 5539396 w 7686087"/>
                <a:gd name="connsiteY2" fmla="*/ 0 h 1178576"/>
                <a:gd name="connsiteX3" fmla="*/ 7686087 w 7686087"/>
                <a:gd name="connsiteY3" fmla="*/ 0 h 1178576"/>
                <a:gd name="connsiteX4" fmla="*/ 7631682 w 7686087"/>
                <a:gd name="connsiteY4" fmla="*/ 83382 h 1178576"/>
                <a:gd name="connsiteX5" fmla="*/ 7686087 w 7686087"/>
                <a:gd name="connsiteY5" fmla="*/ 168537 h 1178576"/>
                <a:gd name="connsiteX6" fmla="*/ 7631682 w 7686087"/>
                <a:gd name="connsiteY6" fmla="*/ 251918 h 1178576"/>
                <a:gd name="connsiteX7" fmla="*/ 7686087 w 7686087"/>
                <a:gd name="connsiteY7" fmla="*/ 336483 h 1178576"/>
                <a:gd name="connsiteX8" fmla="*/ 7631682 w 7686087"/>
                <a:gd name="connsiteY8" fmla="*/ 420455 h 1178576"/>
                <a:gd name="connsiteX9" fmla="*/ 7686087 w 7686087"/>
                <a:gd name="connsiteY9" fmla="*/ 505020 h 1178576"/>
                <a:gd name="connsiteX10" fmla="*/ 7631682 w 7686087"/>
                <a:gd name="connsiteY10" fmla="*/ 588992 h 1178576"/>
                <a:gd name="connsiteX11" fmla="*/ 7686087 w 7686087"/>
                <a:gd name="connsiteY11" fmla="*/ 673557 h 1178576"/>
                <a:gd name="connsiteX12" fmla="*/ 7631682 w 7686087"/>
                <a:gd name="connsiteY12" fmla="*/ 756938 h 1178576"/>
                <a:gd name="connsiteX13" fmla="*/ 7686087 w 7686087"/>
                <a:gd name="connsiteY13" fmla="*/ 842094 h 1178576"/>
                <a:gd name="connsiteX14" fmla="*/ 7631682 w 7686087"/>
                <a:gd name="connsiteY14" fmla="*/ 925475 h 1178576"/>
                <a:gd name="connsiteX15" fmla="*/ 7686087 w 7686087"/>
                <a:gd name="connsiteY15" fmla="*/ 1010631 h 1178576"/>
                <a:gd name="connsiteX16" fmla="*/ 7631682 w 7686087"/>
                <a:gd name="connsiteY16" fmla="*/ 1094012 h 1178576"/>
                <a:gd name="connsiteX17" fmla="*/ 7686087 w 7686087"/>
                <a:gd name="connsiteY17" fmla="*/ 1178576 h 1178576"/>
                <a:gd name="connsiteX18" fmla="*/ 5132605 w 7686087"/>
                <a:gd name="connsiteY18" fmla="*/ 1178576 h 1178576"/>
                <a:gd name="connsiteX19" fmla="*/ 5132605 w 7686087"/>
                <a:gd name="connsiteY19" fmla="*/ 1178424 h 1178576"/>
                <a:gd name="connsiteX20" fmla="*/ 0 w 7686087"/>
                <a:gd name="connsiteY20" fmla="*/ 1178424 h 1178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686087" h="1178576">
                  <a:moveTo>
                    <a:pt x="0" y="0"/>
                  </a:moveTo>
                  <a:lnTo>
                    <a:pt x="5132605" y="0"/>
                  </a:lnTo>
                  <a:lnTo>
                    <a:pt x="5539396" y="0"/>
                  </a:lnTo>
                  <a:lnTo>
                    <a:pt x="7686087" y="0"/>
                  </a:lnTo>
                  <a:lnTo>
                    <a:pt x="7631682" y="83382"/>
                  </a:lnTo>
                  <a:lnTo>
                    <a:pt x="7686087" y="168537"/>
                  </a:lnTo>
                  <a:lnTo>
                    <a:pt x="7631682" y="251918"/>
                  </a:lnTo>
                  <a:lnTo>
                    <a:pt x="7686087" y="336483"/>
                  </a:lnTo>
                  <a:lnTo>
                    <a:pt x="7631682" y="420455"/>
                  </a:lnTo>
                  <a:lnTo>
                    <a:pt x="7686087" y="505020"/>
                  </a:lnTo>
                  <a:lnTo>
                    <a:pt x="7631682" y="588992"/>
                  </a:lnTo>
                  <a:lnTo>
                    <a:pt x="7686087" y="673557"/>
                  </a:lnTo>
                  <a:lnTo>
                    <a:pt x="7631682" y="756938"/>
                  </a:lnTo>
                  <a:lnTo>
                    <a:pt x="7686087" y="842094"/>
                  </a:lnTo>
                  <a:lnTo>
                    <a:pt x="7631682" y="925475"/>
                  </a:lnTo>
                  <a:lnTo>
                    <a:pt x="7686087" y="1010631"/>
                  </a:lnTo>
                  <a:lnTo>
                    <a:pt x="7631682" y="1094012"/>
                  </a:lnTo>
                  <a:lnTo>
                    <a:pt x="7686087" y="1178576"/>
                  </a:lnTo>
                  <a:lnTo>
                    <a:pt x="5132605" y="1178576"/>
                  </a:lnTo>
                  <a:lnTo>
                    <a:pt x="5132605" y="1178424"/>
                  </a:lnTo>
                  <a:lnTo>
                    <a:pt x="0" y="1178424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2" name="TextBox 229">
            <a:extLst>
              <a:ext uri="{FF2B5EF4-FFF2-40B4-BE49-F238E27FC236}">
                <a16:creationId xmlns:a16="http://schemas.microsoft.com/office/drawing/2014/main" xmlns="" id="{D6C91CC0-C9BE-4403-A1B7-C050937E02F6}"/>
              </a:ext>
            </a:extLst>
          </p:cNvPr>
          <p:cNvSpPr txBox="1"/>
          <p:nvPr/>
        </p:nvSpPr>
        <p:spPr>
          <a:xfrm>
            <a:off x="1634156" y="3304296"/>
            <a:ext cx="8731506" cy="14773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200" dirty="0" smtClean="0">
                <a:solidFill>
                  <a:schemeClr val="bg1"/>
                </a:solidFill>
                <a:latin typeface="Georgia" panose="02040502050405020303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Comment </a:t>
            </a:r>
            <a:r>
              <a:rPr lang="en-US" sz="3200" dirty="0" err="1" smtClean="0">
                <a:solidFill>
                  <a:schemeClr val="bg1"/>
                </a:solidFill>
                <a:latin typeface="Georgia" panose="02040502050405020303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mettre</a:t>
            </a:r>
            <a:r>
              <a:rPr lang="en-US" sz="3200" dirty="0" smtClean="0">
                <a:solidFill>
                  <a:schemeClr val="bg1"/>
                </a:solidFill>
                <a:latin typeface="Georgia" panose="02040502050405020303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sur pied </a:t>
            </a:r>
            <a:r>
              <a:rPr lang="en-US" sz="3200" dirty="0" err="1" smtClean="0">
                <a:solidFill>
                  <a:schemeClr val="bg1"/>
                </a:solidFill>
                <a:latin typeface="Georgia" panose="02040502050405020303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une</a:t>
            </a:r>
            <a:r>
              <a:rPr lang="en-US" sz="3200" dirty="0" smtClean="0">
                <a:solidFill>
                  <a:schemeClr val="bg1"/>
                </a:solidFill>
                <a:latin typeface="Georgia" panose="02040502050405020303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application </a:t>
            </a:r>
            <a:r>
              <a:rPr lang="en-US" sz="3200" dirty="0" err="1" smtClean="0">
                <a:solidFill>
                  <a:schemeClr val="bg1"/>
                </a:solidFill>
                <a:latin typeface="Georgia" panose="02040502050405020303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informatique</a:t>
            </a:r>
            <a:r>
              <a:rPr lang="en-US" sz="3200" dirty="0" smtClean="0">
                <a:solidFill>
                  <a:schemeClr val="bg1"/>
                </a:solidFill>
                <a:latin typeface="Georgia" panose="02040502050405020303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pour la </a:t>
            </a:r>
            <a:r>
              <a:rPr lang="en-US" sz="3200" dirty="0" err="1" smtClean="0">
                <a:solidFill>
                  <a:schemeClr val="bg1"/>
                </a:solidFill>
                <a:latin typeface="Georgia" panose="02040502050405020303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gestion</a:t>
            </a:r>
            <a:r>
              <a:rPr lang="en-US" sz="3200" dirty="0" smtClean="0">
                <a:solidFill>
                  <a:schemeClr val="bg1"/>
                </a:solidFill>
                <a:latin typeface="Georgia" panose="02040502050405020303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et la supervision du restaurant</a:t>
            </a:r>
            <a:r>
              <a:rPr lang="en-US" sz="3200" dirty="0" smtClean="0">
                <a:solidFill>
                  <a:schemeClr val="bg1"/>
                </a:solidFill>
                <a:latin typeface="Georgia" panose="02040502050405020303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 smtClean="0">
                <a:solidFill>
                  <a:schemeClr val="bg1"/>
                </a:solidFill>
                <a:latin typeface="Georgia" panose="02040502050405020303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?</a:t>
            </a:r>
            <a:endParaRPr lang="en-US" sz="3200" dirty="0">
              <a:solidFill>
                <a:schemeClr val="bg1"/>
              </a:solidFill>
              <a:latin typeface="Georgia" panose="02040502050405020303" pitchFamily="18" charset="0"/>
              <a:ea typeface="Cambria Math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10335979" y="-366409"/>
            <a:ext cx="469900" cy="469900"/>
          </a:xfrm>
          <a:prstGeom prst="rect">
            <a:avLst/>
          </a:prstGeom>
          <a:solidFill>
            <a:srgbClr val="767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/>
          <p:cNvSpPr/>
          <p:nvPr/>
        </p:nvSpPr>
        <p:spPr>
          <a:xfrm>
            <a:off x="10958278" y="-366409"/>
            <a:ext cx="469900" cy="469900"/>
          </a:xfrm>
          <a:prstGeom prst="rect">
            <a:avLst/>
          </a:prstGeom>
          <a:solidFill>
            <a:srgbClr val="D63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/>
          <p:cNvSpPr/>
          <p:nvPr/>
        </p:nvSpPr>
        <p:spPr>
          <a:xfrm>
            <a:off x="11580577" y="-366409"/>
            <a:ext cx="469900" cy="469900"/>
          </a:xfrm>
          <a:prstGeom prst="rect">
            <a:avLst/>
          </a:prstGeom>
          <a:solidFill>
            <a:srgbClr val="4CC7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TextBox 52">
            <a:extLst>
              <a:ext uri="{FF2B5EF4-FFF2-40B4-BE49-F238E27FC236}">
                <a16:creationId xmlns="" xmlns:a16="http://schemas.microsoft.com/office/drawing/2014/main" id="{B0521F56-07AC-43A5-A8B8-E5AA2009C0A4}"/>
              </a:ext>
            </a:extLst>
          </p:cNvPr>
          <p:cNvSpPr txBox="1"/>
          <p:nvPr/>
        </p:nvSpPr>
        <p:spPr>
          <a:xfrm>
            <a:off x="4204136" y="300019"/>
            <a:ext cx="4650940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Présentation du </a:t>
            </a: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p</a:t>
            </a: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ojet 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  <a:p>
            <a:pPr algn="ctr">
              <a:buClr>
                <a:schemeClr val="accent2"/>
              </a:buClr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92" name="Straight Connector 235">
            <a:extLst>
              <a:ext uri="{FF2B5EF4-FFF2-40B4-BE49-F238E27FC236}">
                <a16:creationId xmlns="" xmlns:a16="http://schemas.microsoft.com/office/drawing/2014/main" id="{7CAA804B-F70E-4EBD-A48C-EAD8A7C82985}"/>
              </a:ext>
            </a:extLst>
          </p:cNvPr>
          <p:cNvCxnSpPr/>
          <p:nvPr/>
        </p:nvCxnSpPr>
        <p:spPr>
          <a:xfrm flipV="1">
            <a:off x="919454" y="1714029"/>
            <a:ext cx="3628483" cy="1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08391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ight Triangle 37">
            <a:extLst>
              <a:ext uri="{FF2B5EF4-FFF2-40B4-BE49-F238E27FC236}">
                <a16:creationId xmlns="" xmlns:a16="http://schemas.microsoft.com/office/drawing/2014/main" id="{637E8DD9-B6C1-428F-B37E-BFAED6E7B445}"/>
              </a:ext>
            </a:extLst>
          </p:cNvPr>
          <p:cNvSpPr/>
          <p:nvPr/>
        </p:nvSpPr>
        <p:spPr>
          <a:xfrm flipH="1">
            <a:off x="3162329" y="5166269"/>
            <a:ext cx="946727" cy="946727"/>
          </a:xfrm>
          <a:prstGeom prst="rtTriangle">
            <a:avLst/>
          </a:prstGeom>
          <a:pattFill prst="pct5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: Rounded Corners 35">
            <a:extLst>
              <a:ext uri="{FF2B5EF4-FFF2-40B4-BE49-F238E27FC236}">
                <a16:creationId xmlns="" xmlns:a16="http://schemas.microsoft.com/office/drawing/2014/main" id="{42F3F6E8-BA12-49A0-A2CB-955A1C7EEAA2}"/>
              </a:ext>
            </a:extLst>
          </p:cNvPr>
          <p:cNvSpPr/>
          <p:nvPr/>
        </p:nvSpPr>
        <p:spPr>
          <a:xfrm>
            <a:off x="1744350" y="1849543"/>
            <a:ext cx="9052365" cy="4893860"/>
          </a:xfrm>
          <a:prstGeom prst="roundRect">
            <a:avLst>
              <a:gd name="adj" fmla="val 4129"/>
            </a:avLst>
          </a:prstGeom>
          <a:pattFill prst="pct5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schemeClr val="tx1"/>
              </a:solidFill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="" xmlns:a16="http://schemas.microsoft.com/office/drawing/2014/main" id="{CA5FCCE6-512A-4E37-BAD6-CC2AAF994008}"/>
              </a:ext>
            </a:extLst>
          </p:cNvPr>
          <p:cNvGrpSpPr/>
          <p:nvPr/>
        </p:nvGrpSpPr>
        <p:grpSpPr>
          <a:xfrm>
            <a:off x="2055851" y="2843139"/>
            <a:ext cx="3336851" cy="3227471"/>
            <a:chOff x="4300416" y="1495174"/>
            <a:chExt cx="4465712" cy="4341784"/>
          </a:xfrm>
        </p:grpSpPr>
        <p:sp>
          <p:nvSpPr>
            <p:cNvPr id="221" name="Isosceles Triangle 17">
              <a:extLst>
                <a:ext uri="{FF2B5EF4-FFF2-40B4-BE49-F238E27FC236}">
                  <a16:creationId xmlns="" xmlns:a16="http://schemas.microsoft.com/office/drawing/2014/main" id="{40171B82-9606-405F-92AF-FEFD5B77C0F8}"/>
                </a:ext>
              </a:extLst>
            </p:cNvPr>
            <p:cNvSpPr/>
            <p:nvPr/>
          </p:nvSpPr>
          <p:spPr>
            <a:xfrm rot="7065334" flipH="1" flipV="1">
              <a:off x="7291747" y="3692189"/>
              <a:ext cx="251709" cy="344650"/>
            </a:xfrm>
            <a:custGeom>
              <a:avLst/>
              <a:gdLst>
                <a:gd name="connsiteX0" fmla="*/ 0 w 187037"/>
                <a:gd name="connsiteY0" fmla="*/ 282890 h 282890"/>
                <a:gd name="connsiteX1" fmla="*/ 93519 w 187037"/>
                <a:gd name="connsiteY1" fmla="*/ 0 h 282890"/>
                <a:gd name="connsiteX2" fmla="*/ 187037 w 187037"/>
                <a:gd name="connsiteY2" fmla="*/ 282890 h 282890"/>
                <a:gd name="connsiteX3" fmla="*/ 0 w 187037"/>
                <a:gd name="connsiteY3" fmla="*/ 282890 h 282890"/>
                <a:gd name="connsiteX0" fmla="*/ 0 w 184656"/>
                <a:gd name="connsiteY0" fmla="*/ 282890 h 294797"/>
                <a:gd name="connsiteX1" fmla="*/ 93519 w 184656"/>
                <a:gd name="connsiteY1" fmla="*/ 0 h 294797"/>
                <a:gd name="connsiteX2" fmla="*/ 184656 w 184656"/>
                <a:gd name="connsiteY2" fmla="*/ 294797 h 294797"/>
                <a:gd name="connsiteX3" fmla="*/ 0 w 184656"/>
                <a:gd name="connsiteY3" fmla="*/ 282890 h 294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656" h="294797">
                  <a:moveTo>
                    <a:pt x="0" y="282890"/>
                  </a:moveTo>
                  <a:lnTo>
                    <a:pt x="93519" y="0"/>
                  </a:lnTo>
                  <a:lnTo>
                    <a:pt x="184656" y="294797"/>
                  </a:lnTo>
                  <a:lnTo>
                    <a:pt x="0" y="28289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1" name="Isosceles Triangle 17">
              <a:extLst>
                <a:ext uri="{FF2B5EF4-FFF2-40B4-BE49-F238E27FC236}">
                  <a16:creationId xmlns="" xmlns:a16="http://schemas.microsoft.com/office/drawing/2014/main" id="{60C9E0D5-9949-4A70-ACE4-8B01E500B72E}"/>
                </a:ext>
              </a:extLst>
            </p:cNvPr>
            <p:cNvSpPr/>
            <p:nvPr/>
          </p:nvSpPr>
          <p:spPr>
            <a:xfrm rot="8004574" flipV="1">
              <a:off x="6969618" y="4152850"/>
              <a:ext cx="314737" cy="324761"/>
            </a:xfrm>
            <a:custGeom>
              <a:avLst/>
              <a:gdLst>
                <a:gd name="connsiteX0" fmla="*/ 0 w 187037"/>
                <a:gd name="connsiteY0" fmla="*/ 282890 h 282890"/>
                <a:gd name="connsiteX1" fmla="*/ 93519 w 187037"/>
                <a:gd name="connsiteY1" fmla="*/ 0 h 282890"/>
                <a:gd name="connsiteX2" fmla="*/ 187037 w 187037"/>
                <a:gd name="connsiteY2" fmla="*/ 282890 h 282890"/>
                <a:gd name="connsiteX3" fmla="*/ 0 w 187037"/>
                <a:gd name="connsiteY3" fmla="*/ 282890 h 282890"/>
                <a:gd name="connsiteX0" fmla="*/ 0 w 184656"/>
                <a:gd name="connsiteY0" fmla="*/ 282890 h 294797"/>
                <a:gd name="connsiteX1" fmla="*/ 93519 w 184656"/>
                <a:gd name="connsiteY1" fmla="*/ 0 h 294797"/>
                <a:gd name="connsiteX2" fmla="*/ 184656 w 184656"/>
                <a:gd name="connsiteY2" fmla="*/ 294797 h 294797"/>
                <a:gd name="connsiteX3" fmla="*/ 0 w 184656"/>
                <a:gd name="connsiteY3" fmla="*/ 282890 h 294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656" h="294797">
                  <a:moveTo>
                    <a:pt x="0" y="282890"/>
                  </a:moveTo>
                  <a:lnTo>
                    <a:pt x="93519" y="0"/>
                  </a:lnTo>
                  <a:lnTo>
                    <a:pt x="184656" y="294797"/>
                  </a:lnTo>
                  <a:lnTo>
                    <a:pt x="0" y="282890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0" name="Isosceles Triangle 17">
              <a:extLst>
                <a:ext uri="{FF2B5EF4-FFF2-40B4-BE49-F238E27FC236}">
                  <a16:creationId xmlns="" xmlns:a16="http://schemas.microsoft.com/office/drawing/2014/main" id="{A936DD66-3AFF-4870-9B59-E4FDC835BEF3}"/>
                </a:ext>
              </a:extLst>
            </p:cNvPr>
            <p:cNvSpPr/>
            <p:nvPr/>
          </p:nvSpPr>
          <p:spPr>
            <a:xfrm rot="9382350" flipH="1">
              <a:off x="7664545" y="4726858"/>
              <a:ext cx="246360" cy="378655"/>
            </a:xfrm>
            <a:custGeom>
              <a:avLst/>
              <a:gdLst>
                <a:gd name="connsiteX0" fmla="*/ 0 w 187037"/>
                <a:gd name="connsiteY0" fmla="*/ 282890 h 282890"/>
                <a:gd name="connsiteX1" fmla="*/ 93519 w 187037"/>
                <a:gd name="connsiteY1" fmla="*/ 0 h 282890"/>
                <a:gd name="connsiteX2" fmla="*/ 187037 w 187037"/>
                <a:gd name="connsiteY2" fmla="*/ 282890 h 282890"/>
                <a:gd name="connsiteX3" fmla="*/ 0 w 187037"/>
                <a:gd name="connsiteY3" fmla="*/ 282890 h 282890"/>
                <a:gd name="connsiteX0" fmla="*/ 0 w 184656"/>
                <a:gd name="connsiteY0" fmla="*/ 282890 h 294797"/>
                <a:gd name="connsiteX1" fmla="*/ 93519 w 184656"/>
                <a:gd name="connsiteY1" fmla="*/ 0 h 294797"/>
                <a:gd name="connsiteX2" fmla="*/ 184656 w 184656"/>
                <a:gd name="connsiteY2" fmla="*/ 294797 h 294797"/>
                <a:gd name="connsiteX3" fmla="*/ 0 w 184656"/>
                <a:gd name="connsiteY3" fmla="*/ 282890 h 294797"/>
                <a:gd name="connsiteX0" fmla="*/ 0 w 191800"/>
                <a:gd name="connsiteY0" fmla="*/ 275747 h 294797"/>
                <a:gd name="connsiteX1" fmla="*/ 100663 w 191800"/>
                <a:gd name="connsiteY1" fmla="*/ 0 h 294797"/>
                <a:gd name="connsiteX2" fmla="*/ 191800 w 191800"/>
                <a:gd name="connsiteY2" fmla="*/ 294797 h 294797"/>
                <a:gd name="connsiteX3" fmla="*/ 0 w 191800"/>
                <a:gd name="connsiteY3" fmla="*/ 275747 h 294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1800" h="294797">
                  <a:moveTo>
                    <a:pt x="0" y="275747"/>
                  </a:moveTo>
                  <a:lnTo>
                    <a:pt x="100663" y="0"/>
                  </a:lnTo>
                  <a:lnTo>
                    <a:pt x="191800" y="294797"/>
                  </a:lnTo>
                  <a:lnTo>
                    <a:pt x="0" y="275747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08" name="Isosceles Triangle 17">
              <a:extLst>
                <a:ext uri="{FF2B5EF4-FFF2-40B4-BE49-F238E27FC236}">
                  <a16:creationId xmlns="" xmlns:a16="http://schemas.microsoft.com/office/drawing/2014/main" id="{91AFDCB1-4948-44A4-8407-F35C6BE3FCD8}"/>
                </a:ext>
              </a:extLst>
            </p:cNvPr>
            <p:cNvSpPr/>
            <p:nvPr/>
          </p:nvSpPr>
          <p:spPr>
            <a:xfrm rot="13258715" flipH="1" flipV="1">
              <a:off x="5490667" y="4134661"/>
              <a:ext cx="365308" cy="324760"/>
            </a:xfrm>
            <a:custGeom>
              <a:avLst/>
              <a:gdLst>
                <a:gd name="connsiteX0" fmla="*/ 0 w 187037"/>
                <a:gd name="connsiteY0" fmla="*/ 282890 h 282890"/>
                <a:gd name="connsiteX1" fmla="*/ 93519 w 187037"/>
                <a:gd name="connsiteY1" fmla="*/ 0 h 282890"/>
                <a:gd name="connsiteX2" fmla="*/ 187037 w 187037"/>
                <a:gd name="connsiteY2" fmla="*/ 282890 h 282890"/>
                <a:gd name="connsiteX3" fmla="*/ 0 w 187037"/>
                <a:gd name="connsiteY3" fmla="*/ 282890 h 282890"/>
                <a:gd name="connsiteX0" fmla="*/ 0 w 184656"/>
                <a:gd name="connsiteY0" fmla="*/ 282890 h 294797"/>
                <a:gd name="connsiteX1" fmla="*/ 93519 w 184656"/>
                <a:gd name="connsiteY1" fmla="*/ 0 h 294797"/>
                <a:gd name="connsiteX2" fmla="*/ 184656 w 184656"/>
                <a:gd name="connsiteY2" fmla="*/ 294797 h 294797"/>
                <a:gd name="connsiteX3" fmla="*/ 0 w 184656"/>
                <a:gd name="connsiteY3" fmla="*/ 282890 h 294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656" h="294797">
                  <a:moveTo>
                    <a:pt x="0" y="282890"/>
                  </a:moveTo>
                  <a:lnTo>
                    <a:pt x="93519" y="0"/>
                  </a:lnTo>
                  <a:lnTo>
                    <a:pt x="184656" y="294797"/>
                  </a:lnTo>
                  <a:lnTo>
                    <a:pt x="0" y="282890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09" name="Isosceles Triangle 17">
              <a:extLst>
                <a:ext uri="{FF2B5EF4-FFF2-40B4-BE49-F238E27FC236}">
                  <a16:creationId xmlns="" xmlns:a16="http://schemas.microsoft.com/office/drawing/2014/main" id="{869FBAB2-FA60-4478-8A08-4FDDAAF38084}"/>
                </a:ext>
              </a:extLst>
            </p:cNvPr>
            <p:cNvSpPr/>
            <p:nvPr/>
          </p:nvSpPr>
          <p:spPr>
            <a:xfrm rot="12206307">
              <a:off x="4905041" y="4738441"/>
              <a:ext cx="246360" cy="378655"/>
            </a:xfrm>
            <a:custGeom>
              <a:avLst/>
              <a:gdLst>
                <a:gd name="connsiteX0" fmla="*/ 0 w 187037"/>
                <a:gd name="connsiteY0" fmla="*/ 282890 h 282890"/>
                <a:gd name="connsiteX1" fmla="*/ 93519 w 187037"/>
                <a:gd name="connsiteY1" fmla="*/ 0 h 282890"/>
                <a:gd name="connsiteX2" fmla="*/ 187037 w 187037"/>
                <a:gd name="connsiteY2" fmla="*/ 282890 h 282890"/>
                <a:gd name="connsiteX3" fmla="*/ 0 w 187037"/>
                <a:gd name="connsiteY3" fmla="*/ 282890 h 282890"/>
                <a:gd name="connsiteX0" fmla="*/ 0 w 184656"/>
                <a:gd name="connsiteY0" fmla="*/ 282890 h 294797"/>
                <a:gd name="connsiteX1" fmla="*/ 93519 w 184656"/>
                <a:gd name="connsiteY1" fmla="*/ 0 h 294797"/>
                <a:gd name="connsiteX2" fmla="*/ 184656 w 184656"/>
                <a:gd name="connsiteY2" fmla="*/ 294797 h 294797"/>
                <a:gd name="connsiteX3" fmla="*/ 0 w 184656"/>
                <a:gd name="connsiteY3" fmla="*/ 282890 h 294797"/>
                <a:gd name="connsiteX0" fmla="*/ 0 w 191800"/>
                <a:gd name="connsiteY0" fmla="*/ 275747 h 294797"/>
                <a:gd name="connsiteX1" fmla="*/ 100663 w 191800"/>
                <a:gd name="connsiteY1" fmla="*/ 0 h 294797"/>
                <a:gd name="connsiteX2" fmla="*/ 191800 w 191800"/>
                <a:gd name="connsiteY2" fmla="*/ 294797 h 294797"/>
                <a:gd name="connsiteX3" fmla="*/ 0 w 191800"/>
                <a:gd name="connsiteY3" fmla="*/ 275747 h 294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1800" h="294797">
                  <a:moveTo>
                    <a:pt x="0" y="275747"/>
                  </a:moveTo>
                  <a:lnTo>
                    <a:pt x="100663" y="0"/>
                  </a:lnTo>
                  <a:lnTo>
                    <a:pt x="191800" y="294797"/>
                  </a:lnTo>
                  <a:lnTo>
                    <a:pt x="0" y="275747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5" name="Isosceles Triangle 17">
              <a:extLst>
                <a:ext uri="{FF2B5EF4-FFF2-40B4-BE49-F238E27FC236}">
                  <a16:creationId xmlns="" xmlns:a16="http://schemas.microsoft.com/office/drawing/2014/main" id="{D58DE9D6-D5D9-423C-A665-18EB3208880A}"/>
                </a:ext>
              </a:extLst>
            </p:cNvPr>
            <p:cNvSpPr/>
            <p:nvPr/>
          </p:nvSpPr>
          <p:spPr>
            <a:xfrm rot="15975264" flipH="1">
              <a:off x="4351242" y="3833233"/>
              <a:ext cx="277004" cy="378655"/>
            </a:xfrm>
            <a:custGeom>
              <a:avLst/>
              <a:gdLst>
                <a:gd name="connsiteX0" fmla="*/ 0 w 187037"/>
                <a:gd name="connsiteY0" fmla="*/ 282890 h 282890"/>
                <a:gd name="connsiteX1" fmla="*/ 93519 w 187037"/>
                <a:gd name="connsiteY1" fmla="*/ 0 h 282890"/>
                <a:gd name="connsiteX2" fmla="*/ 187037 w 187037"/>
                <a:gd name="connsiteY2" fmla="*/ 282890 h 282890"/>
                <a:gd name="connsiteX3" fmla="*/ 0 w 187037"/>
                <a:gd name="connsiteY3" fmla="*/ 282890 h 282890"/>
                <a:gd name="connsiteX0" fmla="*/ 0 w 184656"/>
                <a:gd name="connsiteY0" fmla="*/ 282890 h 294797"/>
                <a:gd name="connsiteX1" fmla="*/ 93519 w 184656"/>
                <a:gd name="connsiteY1" fmla="*/ 0 h 294797"/>
                <a:gd name="connsiteX2" fmla="*/ 184656 w 184656"/>
                <a:gd name="connsiteY2" fmla="*/ 294797 h 294797"/>
                <a:gd name="connsiteX3" fmla="*/ 0 w 184656"/>
                <a:gd name="connsiteY3" fmla="*/ 282890 h 294797"/>
                <a:gd name="connsiteX0" fmla="*/ 0 w 191800"/>
                <a:gd name="connsiteY0" fmla="*/ 275747 h 294797"/>
                <a:gd name="connsiteX1" fmla="*/ 100663 w 191800"/>
                <a:gd name="connsiteY1" fmla="*/ 0 h 294797"/>
                <a:gd name="connsiteX2" fmla="*/ 191800 w 191800"/>
                <a:gd name="connsiteY2" fmla="*/ 294797 h 294797"/>
                <a:gd name="connsiteX3" fmla="*/ 0 w 191800"/>
                <a:gd name="connsiteY3" fmla="*/ 275747 h 294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1800" h="294797">
                  <a:moveTo>
                    <a:pt x="0" y="275747"/>
                  </a:moveTo>
                  <a:lnTo>
                    <a:pt x="100663" y="0"/>
                  </a:lnTo>
                  <a:lnTo>
                    <a:pt x="191800" y="294797"/>
                  </a:lnTo>
                  <a:lnTo>
                    <a:pt x="0" y="275747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4" name="Isosceles Triangle 17">
              <a:extLst>
                <a:ext uri="{FF2B5EF4-FFF2-40B4-BE49-F238E27FC236}">
                  <a16:creationId xmlns="" xmlns:a16="http://schemas.microsoft.com/office/drawing/2014/main" id="{DF41306A-DFA7-4374-8544-1BD531ED48B3}"/>
                </a:ext>
              </a:extLst>
            </p:cNvPr>
            <p:cNvSpPr/>
            <p:nvPr/>
          </p:nvSpPr>
          <p:spPr>
            <a:xfrm rot="14907100" flipV="1">
              <a:off x="5220718" y="3641830"/>
              <a:ext cx="323918" cy="344364"/>
            </a:xfrm>
            <a:custGeom>
              <a:avLst/>
              <a:gdLst>
                <a:gd name="connsiteX0" fmla="*/ 0 w 187037"/>
                <a:gd name="connsiteY0" fmla="*/ 282890 h 282890"/>
                <a:gd name="connsiteX1" fmla="*/ 93519 w 187037"/>
                <a:gd name="connsiteY1" fmla="*/ 0 h 282890"/>
                <a:gd name="connsiteX2" fmla="*/ 187037 w 187037"/>
                <a:gd name="connsiteY2" fmla="*/ 282890 h 282890"/>
                <a:gd name="connsiteX3" fmla="*/ 0 w 187037"/>
                <a:gd name="connsiteY3" fmla="*/ 282890 h 282890"/>
                <a:gd name="connsiteX0" fmla="*/ 0 w 184656"/>
                <a:gd name="connsiteY0" fmla="*/ 282890 h 294797"/>
                <a:gd name="connsiteX1" fmla="*/ 93519 w 184656"/>
                <a:gd name="connsiteY1" fmla="*/ 0 h 294797"/>
                <a:gd name="connsiteX2" fmla="*/ 184656 w 184656"/>
                <a:gd name="connsiteY2" fmla="*/ 294797 h 294797"/>
                <a:gd name="connsiteX3" fmla="*/ 0 w 184656"/>
                <a:gd name="connsiteY3" fmla="*/ 282890 h 294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656" h="294797">
                  <a:moveTo>
                    <a:pt x="0" y="282890"/>
                  </a:moveTo>
                  <a:lnTo>
                    <a:pt x="93519" y="0"/>
                  </a:lnTo>
                  <a:lnTo>
                    <a:pt x="184656" y="294797"/>
                  </a:lnTo>
                  <a:lnTo>
                    <a:pt x="0" y="28289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3" name="Isosceles Triangle 17">
              <a:extLst>
                <a:ext uri="{FF2B5EF4-FFF2-40B4-BE49-F238E27FC236}">
                  <a16:creationId xmlns="" xmlns:a16="http://schemas.microsoft.com/office/drawing/2014/main" id="{398B16F1-471B-4AC7-8E5A-32051AFA6FA8}"/>
                </a:ext>
              </a:extLst>
            </p:cNvPr>
            <p:cNvSpPr/>
            <p:nvPr/>
          </p:nvSpPr>
          <p:spPr>
            <a:xfrm rot="5199273">
              <a:off x="8040867" y="3833283"/>
              <a:ext cx="364566" cy="378655"/>
            </a:xfrm>
            <a:custGeom>
              <a:avLst/>
              <a:gdLst>
                <a:gd name="connsiteX0" fmla="*/ 0 w 187037"/>
                <a:gd name="connsiteY0" fmla="*/ 282890 h 282890"/>
                <a:gd name="connsiteX1" fmla="*/ 93519 w 187037"/>
                <a:gd name="connsiteY1" fmla="*/ 0 h 282890"/>
                <a:gd name="connsiteX2" fmla="*/ 187037 w 187037"/>
                <a:gd name="connsiteY2" fmla="*/ 282890 h 282890"/>
                <a:gd name="connsiteX3" fmla="*/ 0 w 187037"/>
                <a:gd name="connsiteY3" fmla="*/ 282890 h 282890"/>
                <a:gd name="connsiteX0" fmla="*/ 0 w 184656"/>
                <a:gd name="connsiteY0" fmla="*/ 282890 h 294797"/>
                <a:gd name="connsiteX1" fmla="*/ 93519 w 184656"/>
                <a:gd name="connsiteY1" fmla="*/ 0 h 294797"/>
                <a:gd name="connsiteX2" fmla="*/ 184656 w 184656"/>
                <a:gd name="connsiteY2" fmla="*/ 294797 h 294797"/>
                <a:gd name="connsiteX3" fmla="*/ 0 w 184656"/>
                <a:gd name="connsiteY3" fmla="*/ 282890 h 294797"/>
                <a:gd name="connsiteX0" fmla="*/ 0 w 191800"/>
                <a:gd name="connsiteY0" fmla="*/ 275747 h 294797"/>
                <a:gd name="connsiteX1" fmla="*/ 100663 w 191800"/>
                <a:gd name="connsiteY1" fmla="*/ 0 h 294797"/>
                <a:gd name="connsiteX2" fmla="*/ 191800 w 191800"/>
                <a:gd name="connsiteY2" fmla="*/ 294797 h 294797"/>
                <a:gd name="connsiteX3" fmla="*/ 0 w 191800"/>
                <a:gd name="connsiteY3" fmla="*/ 275747 h 294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1800" h="294797">
                  <a:moveTo>
                    <a:pt x="0" y="275747"/>
                  </a:moveTo>
                  <a:lnTo>
                    <a:pt x="100663" y="0"/>
                  </a:lnTo>
                  <a:lnTo>
                    <a:pt x="191800" y="294797"/>
                  </a:lnTo>
                  <a:lnTo>
                    <a:pt x="0" y="275747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2" name="Isosceles Triangle 17">
              <a:extLst>
                <a:ext uri="{FF2B5EF4-FFF2-40B4-BE49-F238E27FC236}">
                  <a16:creationId xmlns="" xmlns:a16="http://schemas.microsoft.com/office/drawing/2014/main" id="{E67948D9-A736-4BDD-9DFE-F551448514D5}"/>
                </a:ext>
              </a:extLst>
            </p:cNvPr>
            <p:cNvSpPr/>
            <p:nvPr/>
          </p:nvSpPr>
          <p:spPr>
            <a:xfrm rot="734712" flipH="1">
              <a:off x="6678875" y="1500786"/>
              <a:ext cx="389957" cy="378655"/>
            </a:xfrm>
            <a:custGeom>
              <a:avLst/>
              <a:gdLst>
                <a:gd name="connsiteX0" fmla="*/ 0 w 187037"/>
                <a:gd name="connsiteY0" fmla="*/ 282890 h 282890"/>
                <a:gd name="connsiteX1" fmla="*/ 93519 w 187037"/>
                <a:gd name="connsiteY1" fmla="*/ 0 h 282890"/>
                <a:gd name="connsiteX2" fmla="*/ 187037 w 187037"/>
                <a:gd name="connsiteY2" fmla="*/ 282890 h 282890"/>
                <a:gd name="connsiteX3" fmla="*/ 0 w 187037"/>
                <a:gd name="connsiteY3" fmla="*/ 282890 h 282890"/>
                <a:gd name="connsiteX0" fmla="*/ 0 w 184656"/>
                <a:gd name="connsiteY0" fmla="*/ 282890 h 294797"/>
                <a:gd name="connsiteX1" fmla="*/ 93519 w 184656"/>
                <a:gd name="connsiteY1" fmla="*/ 0 h 294797"/>
                <a:gd name="connsiteX2" fmla="*/ 184656 w 184656"/>
                <a:gd name="connsiteY2" fmla="*/ 294797 h 294797"/>
                <a:gd name="connsiteX3" fmla="*/ 0 w 184656"/>
                <a:gd name="connsiteY3" fmla="*/ 282890 h 294797"/>
                <a:gd name="connsiteX0" fmla="*/ 0 w 191800"/>
                <a:gd name="connsiteY0" fmla="*/ 275747 h 294797"/>
                <a:gd name="connsiteX1" fmla="*/ 100663 w 191800"/>
                <a:gd name="connsiteY1" fmla="*/ 0 h 294797"/>
                <a:gd name="connsiteX2" fmla="*/ 191800 w 191800"/>
                <a:gd name="connsiteY2" fmla="*/ 294797 h 294797"/>
                <a:gd name="connsiteX3" fmla="*/ 0 w 191800"/>
                <a:gd name="connsiteY3" fmla="*/ 275747 h 294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1800" h="294797">
                  <a:moveTo>
                    <a:pt x="0" y="275747"/>
                  </a:moveTo>
                  <a:lnTo>
                    <a:pt x="100663" y="0"/>
                  </a:lnTo>
                  <a:lnTo>
                    <a:pt x="191800" y="294797"/>
                  </a:lnTo>
                  <a:lnTo>
                    <a:pt x="0" y="275747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7" name="Isosceles Triangle 17">
              <a:extLst>
                <a:ext uri="{FF2B5EF4-FFF2-40B4-BE49-F238E27FC236}">
                  <a16:creationId xmlns="" xmlns:a16="http://schemas.microsoft.com/office/drawing/2014/main" id="{E2699CF4-3621-4D8F-9B28-C0D392B11531}"/>
                </a:ext>
              </a:extLst>
            </p:cNvPr>
            <p:cNvSpPr/>
            <p:nvPr/>
          </p:nvSpPr>
          <p:spPr>
            <a:xfrm rot="19843395">
              <a:off x="5757380" y="1495174"/>
              <a:ext cx="246360" cy="378655"/>
            </a:xfrm>
            <a:custGeom>
              <a:avLst/>
              <a:gdLst>
                <a:gd name="connsiteX0" fmla="*/ 0 w 187037"/>
                <a:gd name="connsiteY0" fmla="*/ 282890 h 282890"/>
                <a:gd name="connsiteX1" fmla="*/ 93519 w 187037"/>
                <a:gd name="connsiteY1" fmla="*/ 0 h 282890"/>
                <a:gd name="connsiteX2" fmla="*/ 187037 w 187037"/>
                <a:gd name="connsiteY2" fmla="*/ 282890 h 282890"/>
                <a:gd name="connsiteX3" fmla="*/ 0 w 187037"/>
                <a:gd name="connsiteY3" fmla="*/ 282890 h 282890"/>
                <a:gd name="connsiteX0" fmla="*/ 0 w 184656"/>
                <a:gd name="connsiteY0" fmla="*/ 282890 h 294797"/>
                <a:gd name="connsiteX1" fmla="*/ 93519 w 184656"/>
                <a:gd name="connsiteY1" fmla="*/ 0 h 294797"/>
                <a:gd name="connsiteX2" fmla="*/ 184656 w 184656"/>
                <a:gd name="connsiteY2" fmla="*/ 294797 h 294797"/>
                <a:gd name="connsiteX3" fmla="*/ 0 w 184656"/>
                <a:gd name="connsiteY3" fmla="*/ 282890 h 294797"/>
                <a:gd name="connsiteX0" fmla="*/ 0 w 191800"/>
                <a:gd name="connsiteY0" fmla="*/ 275747 h 294797"/>
                <a:gd name="connsiteX1" fmla="*/ 100663 w 191800"/>
                <a:gd name="connsiteY1" fmla="*/ 0 h 294797"/>
                <a:gd name="connsiteX2" fmla="*/ 191800 w 191800"/>
                <a:gd name="connsiteY2" fmla="*/ 294797 h 294797"/>
                <a:gd name="connsiteX3" fmla="*/ 0 w 191800"/>
                <a:gd name="connsiteY3" fmla="*/ 275747 h 294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1800" h="294797">
                  <a:moveTo>
                    <a:pt x="0" y="275747"/>
                  </a:moveTo>
                  <a:lnTo>
                    <a:pt x="100663" y="0"/>
                  </a:lnTo>
                  <a:lnTo>
                    <a:pt x="191800" y="294797"/>
                  </a:lnTo>
                  <a:lnTo>
                    <a:pt x="0" y="275747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07" name="Freeform 7">
              <a:extLst>
                <a:ext uri="{FF2B5EF4-FFF2-40B4-BE49-F238E27FC236}">
                  <a16:creationId xmlns="" xmlns:a16="http://schemas.microsoft.com/office/drawing/2014/main" id="{29099BAB-355A-41CB-B7EA-DB52D2CA8526}"/>
                </a:ext>
              </a:extLst>
            </p:cNvPr>
            <p:cNvSpPr>
              <a:spLocks noEditPoints="1"/>
            </p:cNvSpPr>
            <p:nvPr/>
          </p:nvSpPr>
          <p:spPr bwMode="auto">
            <a:xfrm rot="12206307">
              <a:off x="4580933" y="1725879"/>
              <a:ext cx="3651127" cy="3651128"/>
            </a:xfrm>
            <a:custGeom>
              <a:avLst/>
              <a:gdLst>
                <a:gd name="T0" fmla="*/ 514 w 1146"/>
                <a:gd name="T1" fmla="*/ 3 h 1146"/>
                <a:gd name="T2" fmla="*/ 402 w 1146"/>
                <a:gd name="T3" fmla="*/ 26 h 1146"/>
                <a:gd name="T4" fmla="*/ 300 w 1146"/>
                <a:gd name="T5" fmla="*/ 69 h 1146"/>
                <a:gd name="T6" fmla="*/ 209 w 1146"/>
                <a:gd name="T7" fmla="*/ 131 h 1146"/>
                <a:gd name="T8" fmla="*/ 131 w 1146"/>
                <a:gd name="T9" fmla="*/ 208 h 1146"/>
                <a:gd name="T10" fmla="*/ 70 w 1146"/>
                <a:gd name="T11" fmla="*/ 300 h 1146"/>
                <a:gd name="T12" fmla="*/ 26 w 1146"/>
                <a:gd name="T13" fmla="*/ 402 h 1146"/>
                <a:gd name="T14" fmla="*/ 3 w 1146"/>
                <a:gd name="T15" fmla="*/ 514 h 1146"/>
                <a:gd name="T16" fmla="*/ 1 w 1146"/>
                <a:gd name="T17" fmla="*/ 603 h 1146"/>
                <a:gd name="T18" fmla="*/ 18 w 1146"/>
                <a:gd name="T19" fmla="*/ 716 h 1146"/>
                <a:gd name="T20" fmla="*/ 56 w 1146"/>
                <a:gd name="T21" fmla="*/ 822 h 1146"/>
                <a:gd name="T22" fmla="*/ 115 w 1146"/>
                <a:gd name="T23" fmla="*/ 915 h 1146"/>
                <a:gd name="T24" fmla="*/ 188 w 1146"/>
                <a:gd name="T25" fmla="*/ 996 h 1146"/>
                <a:gd name="T26" fmla="*/ 277 w 1146"/>
                <a:gd name="T27" fmla="*/ 1062 h 1146"/>
                <a:gd name="T28" fmla="*/ 376 w 1146"/>
                <a:gd name="T29" fmla="*/ 1111 h 1146"/>
                <a:gd name="T30" fmla="*/ 486 w 1146"/>
                <a:gd name="T31" fmla="*/ 1138 h 1146"/>
                <a:gd name="T32" fmla="*/ 574 w 1146"/>
                <a:gd name="T33" fmla="*/ 1146 h 1146"/>
                <a:gd name="T34" fmla="*/ 688 w 1146"/>
                <a:gd name="T35" fmla="*/ 1134 h 1146"/>
                <a:gd name="T36" fmla="*/ 796 w 1146"/>
                <a:gd name="T37" fmla="*/ 1100 h 1146"/>
                <a:gd name="T38" fmla="*/ 893 w 1146"/>
                <a:gd name="T39" fmla="*/ 1048 h 1146"/>
                <a:gd name="T40" fmla="*/ 978 w 1146"/>
                <a:gd name="T41" fmla="*/ 978 h 1146"/>
                <a:gd name="T42" fmla="*/ 1048 w 1146"/>
                <a:gd name="T43" fmla="*/ 894 h 1146"/>
                <a:gd name="T44" fmla="*/ 1102 w 1146"/>
                <a:gd name="T45" fmla="*/ 796 h 1146"/>
                <a:gd name="T46" fmla="*/ 1134 w 1146"/>
                <a:gd name="T47" fmla="*/ 689 h 1146"/>
                <a:gd name="T48" fmla="*/ 1146 w 1146"/>
                <a:gd name="T49" fmla="*/ 572 h 1146"/>
                <a:gd name="T50" fmla="*/ 1140 w 1146"/>
                <a:gd name="T51" fmla="*/ 485 h 1146"/>
                <a:gd name="T52" fmla="*/ 1111 w 1146"/>
                <a:gd name="T53" fmla="*/ 376 h 1146"/>
                <a:gd name="T54" fmla="*/ 1063 w 1146"/>
                <a:gd name="T55" fmla="*/ 275 h 1146"/>
                <a:gd name="T56" fmla="*/ 998 w 1146"/>
                <a:gd name="T57" fmla="*/ 188 h 1146"/>
                <a:gd name="T58" fmla="*/ 916 w 1146"/>
                <a:gd name="T59" fmla="*/ 115 h 1146"/>
                <a:gd name="T60" fmla="*/ 822 w 1146"/>
                <a:gd name="T61" fmla="*/ 56 h 1146"/>
                <a:gd name="T62" fmla="*/ 716 w 1146"/>
                <a:gd name="T63" fmla="*/ 18 h 1146"/>
                <a:gd name="T64" fmla="*/ 603 w 1146"/>
                <a:gd name="T65" fmla="*/ 1 h 1146"/>
                <a:gd name="T66" fmla="*/ 574 w 1146"/>
                <a:gd name="T67" fmla="*/ 949 h 1146"/>
                <a:gd name="T68" fmla="*/ 497 w 1146"/>
                <a:gd name="T69" fmla="*/ 941 h 1146"/>
                <a:gd name="T70" fmla="*/ 395 w 1146"/>
                <a:gd name="T71" fmla="*/ 903 h 1146"/>
                <a:gd name="T72" fmla="*/ 283 w 1146"/>
                <a:gd name="T73" fmla="*/ 812 h 1146"/>
                <a:gd name="T74" fmla="*/ 214 w 1146"/>
                <a:gd name="T75" fmla="*/ 684 h 1146"/>
                <a:gd name="T76" fmla="*/ 199 w 1146"/>
                <a:gd name="T77" fmla="*/ 612 h 1146"/>
                <a:gd name="T78" fmla="*/ 197 w 1146"/>
                <a:gd name="T79" fmla="*/ 554 h 1146"/>
                <a:gd name="T80" fmla="*/ 209 w 1146"/>
                <a:gd name="T81" fmla="*/ 479 h 1146"/>
                <a:gd name="T82" fmla="*/ 262 w 1146"/>
                <a:gd name="T83" fmla="*/ 363 h 1146"/>
                <a:gd name="T84" fmla="*/ 362 w 1146"/>
                <a:gd name="T85" fmla="*/ 262 h 1146"/>
                <a:gd name="T86" fmla="*/ 479 w 1146"/>
                <a:gd name="T87" fmla="*/ 210 h 1146"/>
                <a:gd name="T88" fmla="*/ 554 w 1146"/>
                <a:gd name="T89" fmla="*/ 197 h 1146"/>
                <a:gd name="T90" fmla="*/ 612 w 1146"/>
                <a:gd name="T91" fmla="*/ 199 h 1146"/>
                <a:gd name="T92" fmla="*/ 684 w 1146"/>
                <a:gd name="T93" fmla="*/ 214 h 1146"/>
                <a:gd name="T94" fmla="*/ 812 w 1146"/>
                <a:gd name="T95" fmla="*/ 283 h 1146"/>
                <a:gd name="T96" fmla="*/ 903 w 1146"/>
                <a:gd name="T97" fmla="*/ 393 h 1146"/>
                <a:gd name="T98" fmla="*/ 941 w 1146"/>
                <a:gd name="T99" fmla="*/ 497 h 1146"/>
                <a:gd name="T100" fmla="*/ 949 w 1146"/>
                <a:gd name="T101" fmla="*/ 572 h 1146"/>
                <a:gd name="T102" fmla="*/ 944 w 1146"/>
                <a:gd name="T103" fmla="*/ 630 h 1146"/>
                <a:gd name="T104" fmla="*/ 919 w 1146"/>
                <a:gd name="T105" fmla="*/ 719 h 1146"/>
                <a:gd name="T106" fmla="*/ 838 w 1146"/>
                <a:gd name="T107" fmla="*/ 838 h 1146"/>
                <a:gd name="T108" fmla="*/ 719 w 1146"/>
                <a:gd name="T109" fmla="*/ 920 h 1146"/>
                <a:gd name="T110" fmla="*/ 630 w 1146"/>
                <a:gd name="T111" fmla="*/ 944 h 1146"/>
                <a:gd name="T112" fmla="*/ 574 w 1146"/>
                <a:gd name="T113" fmla="*/ 949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46" h="1146">
                  <a:moveTo>
                    <a:pt x="574" y="0"/>
                  </a:moveTo>
                  <a:lnTo>
                    <a:pt x="574" y="0"/>
                  </a:lnTo>
                  <a:lnTo>
                    <a:pt x="543" y="1"/>
                  </a:lnTo>
                  <a:lnTo>
                    <a:pt x="514" y="3"/>
                  </a:lnTo>
                  <a:lnTo>
                    <a:pt x="486" y="6"/>
                  </a:lnTo>
                  <a:lnTo>
                    <a:pt x="457" y="12"/>
                  </a:lnTo>
                  <a:lnTo>
                    <a:pt x="430" y="18"/>
                  </a:lnTo>
                  <a:lnTo>
                    <a:pt x="402" y="26"/>
                  </a:lnTo>
                  <a:lnTo>
                    <a:pt x="376" y="35"/>
                  </a:lnTo>
                  <a:lnTo>
                    <a:pt x="350" y="46"/>
                  </a:lnTo>
                  <a:lnTo>
                    <a:pt x="324" y="56"/>
                  </a:lnTo>
                  <a:lnTo>
                    <a:pt x="300" y="69"/>
                  </a:lnTo>
                  <a:lnTo>
                    <a:pt x="277" y="83"/>
                  </a:lnTo>
                  <a:lnTo>
                    <a:pt x="252" y="98"/>
                  </a:lnTo>
                  <a:lnTo>
                    <a:pt x="231" y="115"/>
                  </a:lnTo>
                  <a:lnTo>
                    <a:pt x="209" y="131"/>
                  </a:lnTo>
                  <a:lnTo>
                    <a:pt x="188" y="148"/>
                  </a:lnTo>
                  <a:lnTo>
                    <a:pt x="168" y="168"/>
                  </a:lnTo>
                  <a:lnTo>
                    <a:pt x="150" y="188"/>
                  </a:lnTo>
                  <a:lnTo>
                    <a:pt x="131" y="208"/>
                  </a:lnTo>
                  <a:lnTo>
                    <a:pt x="115" y="229"/>
                  </a:lnTo>
                  <a:lnTo>
                    <a:pt x="98" y="252"/>
                  </a:lnTo>
                  <a:lnTo>
                    <a:pt x="84" y="275"/>
                  </a:lnTo>
                  <a:lnTo>
                    <a:pt x="70" y="300"/>
                  </a:lnTo>
                  <a:lnTo>
                    <a:pt x="56" y="324"/>
                  </a:lnTo>
                  <a:lnTo>
                    <a:pt x="46" y="350"/>
                  </a:lnTo>
                  <a:lnTo>
                    <a:pt x="35" y="376"/>
                  </a:lnTo>
                  <a:lnTo>
                    <a:pt x="26" y="402"/>
                  </a:lnTo>
                  <a:lnTo>
                    <a:pt x="18" y="430"/>
                  </a:lnTo>
                  <a:lnTo>
                    <a:pt x="12" y="457"/>
                  </a:lnTo>
                  <a:lnTo>
                    <a:pt x="7" y="485"/>
                  </a:lnTo>
                  <a:lnTo>
                    <a:pt x="3" y="514"/>
                  </a:lnTo>
                  <a:lnTo>
                    <a:pt x="1" y="543"/>
                  </a:lnTo>
                  <a:lnTo>
                    <a:pt x="0" y="572"/>
                  </a:lnTo>
                  <a:lnTo>
                    <a:pt x="0" y="572"/>
                  </a:lnTo>
                  <a:lnTo>
                    <a:pt x="1" y="603"/>
                  </a:lnTo>
                  <a:lnTo>
                    <a:pt x="3" y="632"/>
                  </a:lnTo>
                  <a:lnTo>
                    <a:pt x="7" y="659"/>
                  </a:lnTo>
                  <a:lnTo>
                    <a:pt x="12" y="689"/>
                  </a:lnTo>
                  <a:lnTo>
                    <a:pt x="18" y="716"/>
                  </a:lnTo>
                  <a:lnTo>
                    <a:pt x="26" y="744"/>
                  </a:lnTo>
                  <a:lnTo>
                    <a:pt x="35" y="770"/>
                  </a:lnTo>
                  <a:lnTo>
                    <a:pt x="46" y="796"/>
                  </a:lnTo>
                  <a:lnTo>
                    <a:pt x="56" y="822"/>
                  </a:lnTo>
                  <a:lnTo>
                    <a:pt x="70" y="846"/>
                  </a:lnTo>
                  <a:lnTo>
                    <a:pt x="84" y="869"/>
                  </a:lnTo>
                  <a:lnTo>
                    <a:pt x="98" y="894"/>
                  </a:lnTo>
                  <a:lnTo>
                    <a:pt x="115" y="915"/>
                  </a:lnTo>
                  <a:lnTo>
                    <a:pt x="131" y="936"/>
                  </a:lnTo>
                  <a:lnTo>
                    <a:pt x="150" y="958"/>
                  </a:lnTo>
                  <a:lnTo>
                    <a:pt x="168" y="978"/>
                  </a:lnTo>
                  <a:lnTo>
                    <a:pt x="188" y="996"/>
                  </a:lnTo>
                  <a:lnTo>
                    <a:pt x="209" y="1014"/>
                  </a:lnTo>
                  <a:lnTo>
                    <a:pt x="231" y="1031"/>
                  </a:lnTo>
                  <a:lnTo>
                    <a:pt x="252" y="1048"/>
                  </a:lnTo>
                  <a:lnTo>
                    <a:pt x="277" y="1062"/>
                  </a:lnTo>
                  <a:lnTo>
                    <a:pt x="300" y="1076"/>
                  </a:lnTo>
                  <a:lnTo>
                    <a:pt x="324" y="1089"/>
                  </a:lnTo>
                  <a:lnTo>
                    <a:pt x="350" y="1100"/>
                  </a:lnTo>
                  <a:lnTo>
                    <a:pt x="376" y="1111"/>
                  </a:lnTo>
                  <a:lnTo>
                    <a:pt x="402" y="1120"/>
                  </a:lnTo>
                  <a:lnTo>
                    <a:pt x="430" y="1128"/>
                  </a:lnTo>
                  <a:lnTo>
                    <a:pt x="457" y="1134"/>
                  </a:lnTo>
                  <a:lnTo>
                    <a:pt x="486" y="1138"/>
                  </a:lnTo>
                  <a:lnTo>
                    <a:pt x="514" y="1143"/>
                  </a:lnTo>
                  <a:lnTo>
                    <a:pt x="543" y="1145"/>
                  </a:lnTo>
                  <a:lnTo>
                    <a:pt x="574" y="1146"/>
                  </a:lnTo>
                  <a:lnTo>
                    <a:pt x="574" y="1146"/>
                  </a:lnTo>
                  <a:lnTo>
                    <a:pt x="603" y="1145"/>
                  </a:lnTo>
                  <a:lnTo>
                    <a:pt x="632" y="1143"/>
                  </a:lnTo>
                  <a:lnTo>
                    <a:pt x="661" y="1138"/>
                  </a:lnTo>
                  <a:lnTo>
                    <a:pt x="688" y="1134"/>
                  </a:lnTo>
                  <a:lnTo>
                    <a:pt x="716" y="1128"/>
                  </a:lnTo>
                  <a:lnTo>
                    <a:pt x="744" y="1120"/>
                  </a:lnTo>
                  <a:lnTo>
                    <a:pt x="770" y="1111"/>
                  </a:lnTo>
                  <a:lnTo>
                    <a:pt x="796" y="1100"/>
                  </a:lnTo>
                  <a:lnTo>
                    <a:pt x="822" y="1089"/>
                  </a:lnTo>
                  <a:lnTo>
                    <a:pt x="846" y="1076"/>
                  </a:lnTo>
                  <a:lnTo>
                    <a:pt x="871" y="1062"/>
                  </a:lnTo>
                  <a:lnTo>
                    <a:pt x="893" y="1048"/>
                  </a:lnTo>
                  <a:lnTo>
                    <a:pt x="916" y="1031"/>
                  </a:lnTo>
                  <a:lnTo>
                    <a:pt x="938" y="1014"/>
                  </a:lnTo>
                  <a:lnTo>
                    <a:pt x="958" y="996"/>
                  </a:lnTo>
                  <a:lnTo>
                    <a:pt x="978" y="978"/>
                  </a:lnTo>
                  <a:lnTo>
                    <a:pt x="998" y="958"/>
                  </a:lnTo>
                  <a:lnTo>
                    <a:pt x="1016" y="936"/>
                  </a:lnTo>
                  <a:lnTo>
                    <a:pt x="1033" y="915"/>
                  </a:lnTo>
                  <a:lnTo>
                    <a:pt x="1048" y="894"/>
                  </a:lnTo>
                  <a:lnTo>
                    <a:pt x="1063" y="869"/>
                  </a:lnTo>
                  <a:lnTo>
                    <a:pt x="1077" y="846"/>
                  </a:lnTo>
                  <a:lnTo>
                    <a:pt x="1089" y="822"/>
                  </a:lnTo>
                  <a:lnTo>
                    <a:pt x="1102" y="796"/>
                  </a:lnTo>
                  <a:lnTo>
                    <a:pt x="1111" y="770"/>
                  </a:lnTo>
                  <a:lnTo>
                    <a:pt x="1120" y="744"/>
                  </a:lnTo>
                  <a:lnTo>
                    <a:pt x="1128" y="716"/>
                  </a:lnTo>
                  <a:lnTo>
                    <a:pt x="1134" y="689"/>
                  </a:lnTo>
                  <a:lnTo>
                    <a:pt x="1140" y="659"/>
                  </a:lnTo>
                  <a:lnTo>
                    <a:pt x="1143" y="632"/>
                  </a:lnTo>
                  <a:lnTo>
                    <a:pt x="1146" y="603"/>
                  </a:lnTo>
                  <a:lnTo>
                    <a:pt x="1146" y="572"/>
                  </a:lnTo>
                  <a:lnTo>
                    <a:pt x="1146" y="572"/>
                  </a:lnTo>
                  <a:lnTo>
                    <a:pt x="1146" y="543"/>
                  </a:lnTo>
                  <a:lnTo>
                    <a:pt x="1143" y="514"/>
                  </a:lnTo>
                  <a:lnTo>
                    <a:pt x="1140" y="485"/>
                  </a:lnTo>
                  <a:lnTo>
                    <a:pt x="1134" y="457"/>
                  </a:lnTo>
                  <a:lnTo>
                    <a:pt x="1128" y="430"/>
                  </a:lnTo>
                  <a:lnTo>
                    <a:pt x="1120" y="402"/>
                  </a:lnTo>
                  <a:lnTo>
                    <a:pt x="1111" y="376"/>
                  </a:lnTo>
                  <a:lnTo>
                    <a:pt x="1102" y="350"/>
                  </a:lnTo>
                  <a:lnTo>
                    <a:pt x="1089" y="324"/>
                  </a:lnTo>
                  <a:lnTo>
                    <a:pt x="1077" y="300"/>
                  </a:lnTo>
                  <a:lnTo>
                    <a:pt x="1063" y="275"/>
                  </a:lnTo>
                  <a:lnTo>
                    <a:pt x="1048" y="252"/>
                  </a:lnTo>
                  <a:lnTo>
                    <a:pt x="1033" y="229"/>
                  </a:lnTo>
                  <a:lnTo>
                    <a:pt x="1016" y="208"/>
                  </a:lnTo>
                  <a:lnTo>
                    <a:pt x="998" y="188"/>
                  </a:lnTo>
                  <a:lnTo>
                    <a:pt x="978" y="168"/>
                  </a:lnTo>
                  <a:lnTo>
                    <a:pt x="958" y="148"/>
                  </a:lnTo>
                  <a:lnTo>
                    <a:pt x="938" y="131"/>
                  </a:lnTo>
                  <a:lnTo>
                    <a:pt x="916" y="115"/>
                  </a:lnTo>
                  <a:lnTo>
                    <a:pt x="893" y="98"/>
                  </a:lnTo>
                  <a:lnTo>
                    <a:pt x="871" y="83"/>
                  </a:lnTo>
                  <a:lnTo>
                    <a:pt x="846" y="69"/>
                  </a:lnTo>
                  <a:lnTo>
                    <a:pt x="822" y="56"/>
                  </a:lnTo>
                  <a:lnTo>
                    <a:pt x="796" y="46"/>
                  </a:lnTo>
                  <a:lnTo>
                    <a:pt x="770" y="35"/>
                  </a:lnTo>
                  <a:lnTo>
                    <a:pt x="744" y="26"/>
                  </a:lnTo>
                  <a:lnTo>
                    <a:pt x="716" y="18"/>
                  </a:lnTo>
                  <a:lnTo>
                    <a:pt x="688" y="12"/>
                  </a:lnTo>
                  <a:lnTo>
                    <a:pt x="661" y="6"/>
                  </a:lnTo>
                  <a:lnTo>
                    <a:pt x="632" y="3"/>
                  </a:lnTo>
                  <a:lnTo>
                    <a:pt x="603" y="1"/>
                  </a:lnTo>
                  <a:lnTo>
                    <a:pt x="574" y="0"/>
                  </a:lnTo>
                  <a:lnTo>
                    <a:pt x="574" y="0"/>
                  </a:lnTo>
                  <a:close/>
                  <a:moveTo>
                    <a:pt x="574" y="949"/>
                  </a:moveTo>
                  <a:lnTo>
                    <a:pt x="574" y="949"/>
                  </a:lnTo>
                  <a:lnTo>
                    <a:pt x="554" y="947"/>
                  </a:lnTo>
                  <a:lnTo>
                    <a:pt x="534" y="947"/>
                  </a:lnTo>
                  <a:lnTo>
                    <a:pt x="516" y="944"/>
                  </a:lnTo>
                  <a:lnTo>
                    <a:pt x="497" y="941"/>
                  </a:lnTo>
                  <a:lnTo>
                    <a:pt x="479" y="936"/>
                  </a:lnTo>
                  <a:lnTo>
                    <a:pt x="462" y="932"/>
                  </a:lnTo>
                  <a:lnTo>
                    <a:pt x="427" y="920"/>
                  </a:lnTo>
                  <a:lnTo>
                    <a:pt x="395" y="903"/>
                  </a:lnTo>
                  <a:lnTo>
                    <a:pt x="362" y="884"/>
                  </a:lnTo>
                  <a:lnTo>
                    <a:pt x="333" y="863"/>
                  </a:lnTo>
                  <a:lnTo>
                    <a:pt x="307" y="838"/>
                  </a:lnTo>
                  <a:lnTo>
                    <a:pt x="283" y="812"/>
                  </a:lnTo>
                  <a:lnTo>
                    <a:pt x="262" y="783"/>
                  </a:lnTo>
                  <a:lnTo>
                    <a:pt x="243" y="751"/>
                  </a:lnTo>
                  <a:lnTo>
                    <a:pt x="226" y="719"/>
                  </a:lnTo>
                  <a:lnTo>
                    <a:pt x="214" y="684"/>
                  </a:lnTo>
                  <a:lnTo>
                    <a:pt x="209" y="667"/>
                  </a:lnTo>
                  <a:lnTo>
                    <a:pt x="205" y="649"/>
                  </a:lnTo>
                  <a:lnTo>
                    <a:pt x="202" y="630"/>
                  </a:lnTo>
                  <a:lnTo>
                    <a:pt x="199" y="612"/>
                  </a:lnTo>
                  <a:lnTo>
                    <a:pt x="197" y="592"/>
                  </a:lnTo>
                  <a:lnTo>
                    <a:pt x="197" y="572"/>
                  </a:lnTo>
                  <a:lnTo>
                    <a:pt x="197" y="572"/>
                  </a:lnTo>
                  <a:lnTo>
                    <a:pt x="197" y="554"/>
                  </a:lnTo>
                  <a:lnTo>
                    <a:pt x="199" y="534"/>
                  </a:lnTo>
                  <a:lnTo>
                    <a:pt x="202" y="516"/>
                  </a:lnTo>
                  <a:lnTo>
                    <a:pt x="205" y="497"/>
                  </a:lnTo>
                  <a:lnTo>
                    <a:pt x="209" y="479"/>
                  </a:lnTo>
                  <a:lnTo>
                    <a:pt x="214" y="460"/>
                  </a:lnTo>
                  <a:lnTo>
                    <a:pt x="226" y="427"/>
                  </a:lnTo>
                  <a:lnTo>
                    <a:pt x="243" y="393"/>
                  </a:lnTo>
                  <a:lnTo>
                    <a:pt x="262" y="363"/>
                  </a:lnTo>
                  <a:lnTo>
                    <a:pt x="283" y="333"/>
                  </a:lnTo>
                  <a:lnTo>
                    <a:pt x="307" y="307"/>
                  </a:lnTo>
                  <a:lnTo>
                    <a:pt x="333" y="283"/>
                  </a:lnTo>
                  <a:lnTo>
                    <a:pt x="362" y="262"/>
                  </a:lnTo>
                  <a:lnTo>
                    <a:pt x="395" y="243"/>
                  </a:lnTo>
                  <a:lnTo>
                    <a:pt x="427" y="226"/>
                  </a:lnTo>
                  <a:lnTo>
                    <a:pt x="462" y="214"/>
                  </a:lnTo>
                  <a:lnTo>
                    <a:pt x="479" y="210"/>
                  </a:lnTo>
                  <a:lnTo>
                    <a:pt x="497" y="205"/>
                  </a:lnTo>
                  <a:lnTo>
                    <a:pt x="516" y="202"/>
                  </a:lnTo>
                  <a:lnTo>
                    <a:pt x="534" y="199"/>
                  </a:lnTo>
                  <a:lnTo>
                    <a:pt x="554" y="197"/>
                  </a:lnTo>
                  <a:lnTo>
                    <a:pt x="574" y="197"/>
                  </a:lnTo>
                  <a:lnTo>
                    <a:pt x="574" y="197"/>
                  </a:lnTo>
                  <a:lnTo>
                    <a:pt x="592" y="197"/>
                  </a:lnTo>
                  <a:lnTo>
                    <a:pt x="612" y="199"/>
                  </a:lnTo>
                  <a:lnTo>
                    <a:pt x="630" y="202"/>
                  </a:lnTo>
                  <a:lnTo>
                    <a:pt x="649" y="205"/>
                  </a:lnTo>
                  <a:lnTo>
                    <a:pt x="667" y="210"/>
                  </a:lnTo>
                  <a:lnTo>
                    <a:pt x="684" y="214"/>
                  </a:lnTo>
                  <a:lnTo>
                    <a:pt x="719" y="226"/>
                  </a:lnTo>
                  <a:lnTo>
                    <a:pt x="751" y="243"/>
                  </a:lnTo>
                  <a:lnTo>
                    <a:pt x="783" y="262"/>
                  </a:lnTo>
                  <a:lnTo>
                    <a:pt x="812" y="283"/>
                  </a:lnTo>
                  <a:lnTo>
                    <a:pt x="838" y="307"/>
                  </a:lnTo>
                  <a:lnTo>
                    <a:pt x="863" y="333"/>
                  </a:lnTo>
                  <a:lnTo>
                    <a:pt x="884" y="363"/>
                  </a:lnTo>
                  <a:lnTo>
                    <a:pt x="903" y="393"/>
                  </a:lnTo>
                  <a:lnTo>
                    <a:pt x="919" y="427"/>
                  </a:lnTo>
                  <a:lnTo>
                    <a:pt x="932" y="460"/>
                  </a:lnTo>
                  <a:lnTo>
                    <a:pt x="936" y="479"/>
                  </a:lnTo>
                  <a:lnTo>
                    <a:pt x="941" y="497"/>
                  </a:lnTo>
                  <a:lnTo>
                    <a:pt x="944" y="516"/>
                  </a:lnTo>
                  <a:lnTo>
                    <a:pt x="947" y="534"/>
                  </a:lnTo>
                  <a:lnTo>
                    <a:pt x="949" y="554"/>
                  </a:lnTo>
                  <a:lnTo>
                    <a:pt x="949" y="572"/>
                  </a:lnTo>
                  <a:lnTo>
                    <a:pt x="949" y="572"/>
                  </a:lnTo>
                  <a:lnTo>
                    <a:pt x="949" y="592"/>
                  </a:lnTo>
                  <a:lnTo>
                    <a:pt x="947" y="612"/>
                  </a:lnTo>
                  <a:lnTo>
                    <a:pt x="944" y="630"/>
                  </a:lnTo>
                  <a:lnTo>
                    <a:pt x="941" y="649"/>
                  </a:lnTo>
                  <a:lnTo>
                    <a:pt x="936" y="667"/>
                  </a:lnTo>
                  <a:lnTo>
                    <a:pt x="932" y="684"/>
                  </a:lnTo>
                  <a:lnTo>
                    <a:pt x="919" y="719"/>
                  </a:lnTo>
                  <a:lnTo>
                    <a:pt x="903" y="751"/>
                  </a:lnTo>
                  <a:lnTo>
                    <a:pt x="884" y="783"/>
                  </a:lnTo>
                  <a:lnTo>
                    <a:pt x="863" y="812"/>
                  </a:lnTo>
                  <a:lnTo>
                    <a:pt x="838" y="838"/>
                  </a:lnTo>
                  <a:lnTo>
                    <a:pt x="812" y="863"/>
                  </a:lnTo>
                  <a:lnTo>
                    <a:pt x="783" y="884"/>
                  </a:lnTo>
                  <a:lnTo>
                    <a:pt x="751" y="903"/>
                  </a:lnTo>
                  <a:lnTo>
                    <a:pt x="719" y="920"/>
                  </a:lnTo>
                  <a:lnTo>
                    <a:pt x="684" y="932"/>
                  </a:lnTo>
                  <a:lnTo>
                    <a:pt x="667" y="936"/>
                  </a:lnTo>
                  <a:lnTo>
                    <a:pt x="649" y="941"/>
                  </a:lnTo>
                  <a:lnTo>
                    <a:pt x="630" y="944"/>
                  </a:lnTo>
                  <a:lnTo>
                    <a:pt x="612" y="947"/>
                  </a:lnTo>
                  <a:lnTo>
                    <a:pt x="592" y="947"/>
                  </a:lnTo>
                  <a:lnTo>
                    <a:pt x="574" y="949"/>
                  </a:lnTo>
                  <a:lnTo>
                    <a:pt x="574" y="94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endParaRPr>
            </a:p>
          </p:txBody>
        </p:sp>
        <p:sp>
          <p:nvSpPr>
            <p:cNvPr id="216" name="Isosceles Triangle 17">
              <a:extLst>
                <a:ext uri="{FF2B5EF4-FFF2-40B4-BE49-F238E27FC236}">
                  <a16:creationId xmlns="" xmlns:a16="http://schemas.microsoft.com/office/drawing/2014/main" id="{AF41683C-0745-4043-8F9E-C26D1398F00E}"/>
                </a:ext>
              </a:extLst>
            </p:cNvPr>
            <p:cNvSpPr/>
            <p:nvPr/>
          </p:nvSpPr>
          <p:spPr>
            <a:xfrm rot="20827402" flipH="1" flipV="1">
              <a:off x="6002097" y="2374950"/>
              <a:ext cx="237183" cy="324760"/>
            </a:xfrm>
            <a:custGeom>
              <a:avLst/>
              <a:gdLst>
                <a:gd name="connsiteX0" fmla="*/ 0 w 187037"/>
                <a:gd name="connsiteY0" fmla="*/ 282890 h 282890"/>
                <a:gd name="connsiteX1" fmla="*/ 93519 w 187037"/>
                <a:gd name="connsiteY1" fmla="*/ 0 h 282890"/>
                <a:gd name="connsiteX2" fmla="*/ 187037 w 187037"/>
                <a:gd name="connsiteY2" fmla="*/ 282890 h 282890"/>
                <a:gd name="connsiteX3" fmla="*/ 0 w 187037"/>
                <a:gd name="connsiteY3" fmla="*/ 282890 h 282890"/>
                <a:gd name="connsiteX0" fmla="*/ 0 w 184656"/>
                <a:gd name="connsiteY0" fmla="*/ 282890 h 294797"/>
                <a:gd name="connsiteX1" fmla="*/ 93519 w 184656"/>
                <a:gd name="connsiteY1" fmla="*/ 0 h 294797"/>
                <a:gd name="connsiteX2" fmla="*/ 184656 w 184656"/>
                <a:gd name="connsiteY2" fmla="*/ 294797 h 294797"/>
                <a:gd name="connsiteX3" fmla="*/ 0 w 184656"/>
                <a:gd name="connsiteY3" fmla="*/ 282890 h 294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656" h="294797">
                  <a:moveTo>
                    <a:pt x="0" y="282890"/>
                  </a:moveTo>
                  <a:lnTo>
                    <a:pt x="93519" y="0"/>
                  </a:lnTo>
                  <a:lnTo>
                    <a:pt x="184656" y="294797"/>
                  </a:lnTo>
                  <a:lnTo>
                    <a:pt x="0" y="28289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8" name="Freeform 9">
              <a:extLst>
                <a:ext uri="{FF2B5EF4-FFF2-40B4-BE49-F238E27FC236}">
                  <a16:creationId xmlns="" xmlns:a16="http://schemas.microsoft.com/office/drawing/2014/main" id="{DF464FD8-E1B7-4B35-ACC8-917B205FF5BF}"/>
                </a:ext>
              </a:extLst>
            </p:cNvPr>
            <p:cNvSpPr>
              <a:spLocks/>
            </p:cNvSpPr>
            <p:nvPr/>
          </p:nvSpPr>
          <p:spPr bwMode="auto">
            <a:xfrm rot="12206307">
              <a:off x="4414773" y="1517280"/>
              <a:ext cx="2150534" cy="2905609"/>
            </a:xfrm>
            <a:custGeom>
              <a:avLst/>
              <a:gdLst>
                <a:gd name="T0" fmla="*/ 430 w 675"/>
                <a:gd name="T1" fmla="*/ 912 h 912"/>
                <a:gd name="T2" fmla="*/ 430 w 675"/>
                <a:gd name="T3" fmla="*/ 912 h 912"/>
                <a:gd name="T4" fmla="*/ 452 w 675"/>
                <a:gd name="T5" fmla="*/ 893 h 912"/>
                <a:gd name="T6" fmla="*/ 473 w 675"/>
                <a:gd name="T7" fmla="*/ 874 h 912"/>
                <a:gd name="T8" fmla="*/ 493 w 675"/>
                <a:gd name="T9" fmla="*/ 854 h 912"/>
                <a:gd name="T10" fmla="*/ 511 w 675"/>
                <a:gd name="T11" fmla="*/ 832 h 912"/>
                <a:gd name="T12" fmla="*/ 530 w 675"/>
                <a:gd name="T13" fmla="*/ 811 h 912"/>
                <a:gd name="T14" fmla="*/ 548 w 675"/>
                <a:gd name="T15" fmla="*/ 786 h 912"/>
                <a:gd name="T16" fmla="*/ 565 w 675"/>
                <a:gd name="T17" fmla="*/ 763 h 912"/>
                <a:gd name="T18" fmla="*/ 580 w 675"/>
                <a:gd name="T19" fmla="*/ 737 h 912"/>
                <a:gd name="T20" fmla="*/ 580 w 675"/>
                <a:gd name="T21" fmla="*/ 737 h 912"/>
                <a:gd name="T22" fmla="*/ 594 w 675"/>
                <a:gd name="T23" fmla="*/ 716 h 912"/>
                <a:gd name="T24" fmla="*/ 605 w 675"/>
                <a:gd name="T25" fmla="*/ 693 h 912"/>
                <a:gd name="T26" fmla="*/ 615 w 675"/>
                <a:gd name="T27" fmla="*/ 670 h 912"/>
                <a:gd name="T28" fmla="*/ 626 w 675"/>
                <a:gd name="T29" fmla="*/ 647 h 912"/>
                <a:gd name="T30" fmla="*/ 635 w 675"/>
                <a:gd name="T31" fmla="*/ 623 h 912"/>
                <a:gd name="T32" fmla="*/ 643 w 675"/>
                <a:gd name="T33" fmla="*/ 600 h 912"/>
                <a:gd name="T34" fmla="*/ 650 w 675"/>
                <a:gd name="T35" fmla="*/ 575 h 912"/>
                <a:gd name="T36" fmla="*/ 657 w 675"/>
                <a:gd name="T37" fmla="*/ 552 h 912"/>
                <a:gd name="T38" fmla="*/ 667 w 675"/>
                <a:gd name="T39" fmla="*/ 503 h 912"/>
                <a:gd name="T40" fmla="*/ 673 w 675"/>
                <a:gd name="T41" fmla="*/ 456 h 912"/>
                <a:gd name="T42" fmla="*/ 675 w 675"/>
                <a:gd name="T43" fmla="*/ 407 h 912"/>
                <a:gd name="T44" fmla="*/ 675 w 675"/>
                <a:gd name="T45" fmla="*/ 359 h 912"/>
                <a:gd name="T46" fmla="*/ 670 w 675"/>
                <a:gd name="T47" fmla="*/ 310 h 912"/>
                <a:gd name="T48" fmla="*/ 663 w 675"/>
                <a:gd name="T49" fmla="*/ 263 h 912"/>
                <a:gd name="T50" fmla="*/ 652 w 675"/>
                <a:gd name="T51" fmla="*/ 217 h 912"/>
                <a:gd name="T52" fmla="*/ 637 w 675"/>
                <a:gd name="T53" fmla="*/ 171 h 912"/>
                <a:gd name="T54" fmla="*/ 620 w 675"/>
                <a:gd name="T55" fmla="*/ 125 h 912"/>
                <a:gd name="T56" fmla="*/ 598 w 675"/>
                <a:gd name="T57" fmla="*/ 82 h 912"/>
                <a:gd name="T58" fmla="*/ 574 w 675"/>
                <a:gd name="T59" fmla="*/ 40 h 912"/>
                <a:gd name="T60" fmla="*/ 546 w 675"/>
                <a:gd name="T61" fmla="*/ 0 h 912"/>
                <a:gd name="T62" fmla="*/ 0 w 675"/>
                <a:gd name="T63" fmla="*/ 405 h 912"/>
                <a:gd name="T64" fmla="*/ 430 w 675"/>
                <a:gd name="T65" fmla="*/ 912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5" h="912">
                  <a:moveTo>
                    <a:pt x="430" y="912"/>
                  </a:moveTo>
                  <a:lnTo>
                    <a:pt x="430" y="912"/>
                  </a:lnTo>
                  <a:lnTo>
                    <a:pt x="452" y="893"/>
                  </a:lnTo>
                  <a:lnTo>
                    <a:pt x="473" y="874"/>
                  </a:lnTo>
                  <a:lnTo>
                    <a:pt x="493" y="854"/>
                  </a:lnTo>
                  <a:lnTo>
                    <a:pt x="511" y="832"/>
                  </a:lnTo>
                  <a:lnTo>
                    <a:pt x="530" y="811"/>
                  </a:lnTo>
                  <a:lnTo>
                    <a:pt x="548" y="786"/>
                  </a:lnTo>
                  <a:lnTo>
                    <a:pt x="565" y="763"/>
                  </a:lnTo>
                  <a:lnTo>
                    <a:pt x="580" y="737"/>
                  </a:lnTo>
                  <a:lnTo>
                    <a:pt x="580" y="737"/>
                  </a:lnTo>
                  <a:lnTo>
                    <a:pt x="594" y="716"/>
                  </a:lnTo>
                  <a:lnTo>
                    <a:pt x="605" y="693"/>
                  </a:lnTo>
                  <a:lnTo>
                    <a:pt x="615" y="670"/>
                  </a:lnTo>
                  <a:lnTo>
                    <a:pt x="626" y="647"/>
                  </a:lnTo>
                  <a:lnTo>
                    <a:pt x="635" y="623"/>
                  </a:lnTo>
                  <a:lnTo>
                    <a:pt x="643" y="600"/>
                  </a:lnTo>
                  <a:lnTo>
                    <a:pt x="650" y="575"/>
                  </a:lnTo>
                  <a:lnTo>
                    <a:pt x="657" y="552"/>
                  </a:lnTo>
                  <a:lnTo>
                    <a:pt x="667" y="503"/>
                  </a:lnTo>
                  <a:lnTo>
                    <a:pt x="673" y="456"/>
                  </a:lnTo>
                  <a:lnTo>
                    <a:pt x="675" y="407"/>
                  </a:lnTo>
                  <a:lnTo>
                    <a:pt x="675" y="359"/>
                  </a:lnTo>
                  <a:lnTo>
                    <a:pt x="670" y="310"/>
                  </a:lnTo>
                  <a:lnTo>
                    <a:pt x="663" y="263"/>
                  </a:lnTo>
                  <a:lnTo>
                    <a:pt x="652" y="217"/>
                  </a:lnTo>
                  <a:lnTo>
                    <a:pt x="637" y="171"/>
                  </a:lnTo>
                  <a:lnTo>
                    <a:pt x="620" y="125"/>
                  </a:lnTo>
                  <a:lnTo>
                    <a:pt x="598" y="82"/>
                  </a:lnTo>
                  <a:lnTo>
                    <a:pt x="574" y="40"/>
                  </a:lnTo>
                  <a:lnTo>
                    <a:pt x="546" y="0"/>
                  </a:lnTo>
                  <a:lnTo>
                    <a:pt x="0" y="405"/>
                  </a:lnTo>
                  <a:lnTo>
                    <a:pt x="430" y="91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endParaRPr>
            </a:p>
          </p:txBody>
        </p:sp>
        <p:sp>
          <p:nvSpPr>
            <p:cNvPr id="219" name="Freeform 8">
              <a:extLst>
                <a:ext uri="{FF2B5EF4-FFF2-40B4-BE49-F238E27FC236}">
                  <a16:creationId xmlns="" xmlns:a16="http://schemas.microsoft.com/office/drawing/2014/main" id="{F5BF3A03-4BA4-496D-AB7A-13FBD8DA25F6}"/>
                </a:ext>
              </a:extLst>
            </p:cNvPr>
            <p:cNvSpPr>
              <a:spLocks/>
            </p:cNvSpPr>
            <p:nvPr/>
          </p:nvSpPr>
          <p:spPr bwMode="auto">
            <a:xfrm rot="12206307">
              <a:off x="5208512" y="3711912"/>
              <a:ext cx="2679406" cy="2125046"/>
            </a:xfrm>
            <a:custGeom>
              <a:avLst/>
              <a:gdLst>
                <a:gd name="T0" fmla="*/ 841 w 841"/>
                <a:gd name="T1" fmla="*/ 40 h 667"/>
                <a:gd name="T2" fmla="*/ 841 w 841"/>
                <a:gd name="T3" fmla="*/ 40 h 667"/>
                <a:gd name="T4" fmla="*/ 814 w 841"/>
                <a:gd name="T5" fmla="*/ 31 h 667"/>
                <a:gd name="T6" fmla="*/ 786 w 841"/>
                <a:gd name="T7" fmla="*/ 23 h 667"/>
                <a:gd name="T8" fmla="*/ 758 w 841"/>
                <a:gd name="T9" fmla="*/ 15 h 667"/>
                <a:gd name="T10" fmla="*/ 731 w 841"/>
                <a:gd name="T11" fmla="*/ 11 h 667"/>
                <a:gd name="T12" fmla="*/ 702 w 841"/>
                <a:gd name="T13" fmla="*/ 6 h 667"/>
                <a:gd name="T14" fmla="*/ 673 w 841"/>
                <a:gd name="T15" fmla="*/ 3 h 667"/>
                <a:gd name="T16" fmla="*/ 644 w 841"/>
                <a:gd name="T17" fmla="*/ 0 h 667"/>
                <a:gd name="T18" fmla="*/ 615 w 841"/>
                <a:gd name="T19" fmla="*/ 0 h 667"/>
                <a:gd name="T20" fmla="*/ 615 w 841"/>
                <a:gd name="T21" fmla="*/ 0 h 667"/>
                <a:gd name="T22" fmla="*/ 589 w 841"/>
                <a:gd name="T23" fmla="*/ 0 h 667"/>
                <a:gd name="T24" fmla="*/ 563 w 841"/>
                <a:gd name="T25" fmla="*/ 2 h 667"/>
                <a:gd name="T26" fmla="*/ 538 w 841"/>
                <a:gd name="T27" fmla="*/ 5 h 667"/>
                <a:gd name="T28" fmla="*/ 512 w 841"/>
                <a:gd name="T29" fmla="*/ 8 h 667"/>
                <a:gd name="T30" fmla="*/ 488 w 841"/>
                <a:gd name="T31" fmla="*/ 12 h 667"/>
                <a:gd name="T32" fmla="*/ 463 w 841"/>
                <a:gd name="T33" fmla="*/ 17 h 667"/>
                <a:gd name="T34" fmla="*/ 439 w 841"/>
                <a:gd name="T35" fmla="*/ 23 h 667"/>
                <a:gd name="T36" fmla="*/ 416 w 841"/>
                <a:gd name="T37" fmla="*/ 31 h 667"/>
                <a:gd name="T38" fmla="*/ 370 w 841"/>
                <a:gd name="T39" fmla="*/ 46 h 667"/>
                <a:gd name="T40" fmla="*/ 324 w 841"/>
                <a:gd name="T41" fmla="*/ 66 h 667"/>
                <a:gd name="T42" fmla="*/ 281 w 841"/>
                <a:gd name="T43" fmla="*/ 89 h 667"/>
                <a:gd name="T44" fmla="*/ 241 w 841"/>
                <a:gd name="T45" fmla="*/ 115 h 667"/>
                <a:gd name="T46" fmla="*/ 202 w 841"/>
                <a:gd name="T47" fmla="*/ 142 h 667"/>
                <a:gd name="T48" fmla="*/ 165 w 841"/>
                <a:gd name="T49" fmla="*/ 173 h 667"/>
                <a:gd name="T50" fmla="*/ 131 w 841"/>
                <a:gd name="T51" fmla="*/ 207 h 667"/>
                <a:gd name="T52" fmla="*/ 99 w 841"/>
                <a:gd name="T53" fmla="*/ 243 h 667"/>
                <a:gd name="T54" fmla="*/ 70 w 841"/>
                <a:gd name="T55" fmla="*/ 282 h 667"/>
                <a:gd name="T56" fmla="*/ 42 w 841"/>
                <a:gd name="T57" fmla="*/ 321 h 667"/>
                <a:gd name="T58" fmla="*/ 19 w 841"/>
                <a:gd name="T59" fmla="*/ 364 h 667"/>
                <a:gd name="T60" fmla="*/ 0 w 841"/>
                <a:gd name="T61" fmla="*/ 409 h 667"/>
                <a:gd name="T62" fmla="*/ 628 w 841"/>
                <a:gd name="T63" fmla="*/ 667 h 667"/>
                <a:gd name="T64" fmla="*/ 841 w 841"/>
                <a:gd name="T65" fmla="*/ 4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1" h="667">
                  <a:moveTo>
                    <a:pt x="841" y="40"/>
                  </a:moveTo>
                  <a:lnTo>
                    <a:pt x="841" y="40"/>
                  </a:lnTo>
                  <a:lnTo>
                    <a:pt x="814" y="31"/>
                  </a:lnTo>
                  <a:lnTo>
                    <a:pt x="786" y="23"/>
                  </a:lnTo>
                  <a:lnTo>
                    <a:pt x="758" y="15"/>
                  </a:lnTo>
                  <a:lnTo>
                    <a:pt x="731" y="11"/>
                  </a:lnTo>
                  <a:lnTo>
                    <a:pt x="702" y="6"/>
                  </a:lnTo>
                  <a:lnTo>
                    <a:pt x="673" y="3"/>
                  </a:lnTo>
                  <a:lnTo>
                    <a:pt x="644" y="0"/>
                  </a:lnTo>
                  <a:lnTo>
                    <a:pt x="615" y="0"/>
                  </a:lnTo>
                  <a:lnTo>
                    <a:pt x="615" y="0"/>
                  </a:lnTo>
                  <a:lnTo>
                    <a:pt x="589" y="0"/>
                  </a:lnTo>
                  <a:lnTo>
                    <a:pt x="563" y="2"/>
                  </a:lnTo>
                  <a:lnTo>
                    <a:pt x="538" y="5"/>
                  </a:lnTo>
                  <a:lnTo>
                    <a:pt x="512" y="8"/>
                  </a:lnTo>
                  <a:lnTo>
                    <a:pt x="488" y="12"/>
                  </a:lnTo>
                  <a:lnTo>
                    <a:pt x="463" y="17"/>
                  </a:lnTo>
                  <a:lnTo>
                    <a:pt x="439" y="23"/>
                  </a:lnTo>
                  <a:lnTo>
                    <a:pt x="416" y="31"/>
                  </a:lnTo>
                  <a:lnTo>
                    <a:pt x="370" y="46"/>
                  </a:lnTo>
                  <a:lnTo>
                    <a:pt x="324" y="66"/>
                  </a:lnTo>
                  <a:lnTo>
                    <a:pt x="281" y="89"/>
                  </a:lnTo>
                  <a:lnTo>
                    <a:pt x="241" y="115"/>
                  </a:lnTo>
                  <a:lnTo>
                    <a:pt x="202" y="142"/>
                  </a:lnTo>
                  <a:lnTo>
                    <a:pt x="165" y="173"/>
                  </a:lnTo>
                  <a:lnTo>
                    <a:pt x="131" y="207"/>
                  </a:lnTo>
                  <a:lnTo>
                    <a:pt x="99" y="243"/>
                  </a:lnTo>
                  <a:lnTo>
                    <a:pt x="70" y="282"/>
                  </a:lnTo>
                  <a:lnTo>
                    <a:pt x="42" y="321"/>
                  </a:lnTo>
                  <a:lnTo>
                    <a:pt x="19" y="364"/>
                  </a:lnTo>
                  <a:lnTo>
                    <a:pt x="0" y="409"/>
                  </a:lnTo>
                  <a:lnTo>
                    <a:pt x="628" y="667"/>
                  </a:lnTo>
                  <a:lnTo>
                    <a:pt x="841" y="4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endParaRPr>
            </a:p>
          </p:txBody>
        </p:sp>
        <p:sp>
          <p:nvSpPr>
            <p:cNvPr id="220" name="Isosceles Triangle 17">
              <a:extLst>
                <a:ext uri="{FF2B5EF4-FFF2-40B4-BE49-F238E27FC236}">
                  <a16:creationId xmlns="" xmlns:a16="http://schemas.microsoft.com/office/drawing/2014/main" id="{84B81B23-6DE4-4C5C-BF9C-1C0A318B2393}"/>
                </a:ext>
              </a:extLst>
            </p:cNvPr>
            <p:cNvSpPr/>
            <p:nvPr/>
          </p:nvSpPr>
          <p:spPr>
            <a:xfrm rot="164298" flipV="1">
              <a:off x="6477866" y="2332960"/>
              <a:ext cx="237183" cy="344364"/>
            </a:xfrm>
            <a:custGeom>
              <a:avLst/>
              <a:gdLst>
                <a:gd name="connsiteX0" fmla="*/ 0 w 187037"/>
                <a:gd name="connsiteY0" fmla="*/ 282890 h 282890"/>
                <a:gd name="connsiteX1" fmla="*/ 93519 w 187037"/>
                <a:gd name="connsiteY1" fmla="*/ 0 h 282890"/>
                <a:gd name="connsiteX2" fmla="*/ 187037 w 187037"/>
                <a:gd name="connsiteY2" fmla="*/ 282890 h 282890"/>
                <a:gd name="connsiteX3" fmla="*/ 0 w 187037"/>
                <a:gd name="connsiteY3" fmla="*/ 282890 h 282890"/>
                <a:gd name="connsiteX0" fmla="*/ 0 w 184656"/>
                <a:gd name="connsiteY0" fmla="*/ 282890 h 294797"/>
                <a:gd name="connsiteX1" fmla="*/ 93519 w 184656"/>
                <a:gd name="connsiteY1" fmla="*/ 0 h 294797"/>
                <a:gd name="connsiteX2" fmla="*/ 184656 w 184656"/>
                <a:gd name="connsiteY2" fmla="*/ 294797 h 294797"/>
                <a:gd name="connsiteX3" fmla="*/ 0 w 184656"/>
                <a:gd name="connsiteY3" fmla="*/ 282890 h 294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4656" h="294797">
                  <a:moveTo>
                    <a:pt x="0" y="282890"/>
                  </a:moveTo>
                  <a:lnTo>
                    <a:pt x="93519" y="0"/>
                  </a:lnTo>
                  <a:lnTo>
                    <a:pt x="184656" y="294797"/>
                  </a:lnTo>
                  <a:lnTo>
                    <a:pt x="0" y="28289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2" name="Freeform 10">
              <a:extLst>
                <a:ext uri="{FF2B5EF4-FFF2-40B4-BE49-F238E27FC236}">
                  <a16:creationId xmlns="" xmlns:a16="http://schemas.microsoft.com/office/drawing/2014/main" id="{032D9B74-FABA-462B-BF91-0CB8116DC86B}"/>
                </a:ext>
              </a:extLst>
            </p:cNvPr>
            <p:cNvSpPr>
              <a:spLocks/>
            </p:cNvSpPr>
            <p:nvPr/>
          </p:nvSpPr>
          <p:spPr bwMode="auto">
            <a:xfrm rot="12206307">
              <a:off x="6386203" y="1874380"/>
              <a:ext cx="2379925" cy="2163278"/>
            </a:xfrm>
            <a:custGeom>
              <a:avLst/>
              <a:gdLst>
                <a:gd name="T0" fmla="*/ 0 w 747"/>
                <a:gd name="T1" fmla="*/ 138 h 679"/>
                <a:gd name="T2" fmla="*/ 0 w 747"/>
                <a:gd name="T3" fmla="*/ 138 h 679"/>
                <a:gd name="T4" fmla="*/ 6 w 747"/>
                <a:gd name="T5" fmla="*/ 165 h 679"/>
                <a:gd name="T6" fmla="*/ 14 w 747"/>
                <a:gd name="T7" fmla="*/ 193 h 679"/>
                <a:gd name="T8" fmla="*/ 22 w 747"/>
                <a:gd name="T9" fmla="*/ 220 h 679"/>
                <a:gd name="T10" fmla="*/ 31 w 747"/>
                <a:gd name="T11" fmla="*/ 246 h 679"/>
                <a:gd name="T12" fmla="*/ 41 w 747"/>
                <a:gd name="T13" fmla="*/ 274 h 679"/>
                <a:gd name="T14" fmla="*/ 54 w 747"/>
                <a:gd name="T15" fmla="*/ 300 h 679"/>
                <a:gd name="T16" fmla="*/ 67 w 747"/>
                <a:gd name="T17" fmla="*/ 326 h 679"/>
                <a:gd name="T18" fmla="*/ 81 w 747"/>
                <a:gd name="T19" fmla="*/ 352 h 679"/>
                <a:gd name="T20" fmla="*/ 81 w 747"/>
                <a:gd name="T21" fmla="*/ 352 h 679"/>
                <a:gd name="T22" fmla="*/ 95 w 747"/>
                <a:gd name="T23" fmla="*/ 375 h 679"/>
                <a:gd name="T24" fmla="*/ 110 w 747"/>
                <a:gd name="T25" fmla="*/ 396 h 679"/>
                <a:gd name="T26" fmla="*/ 124 w 747"/>
                <a:gd name="T27" fmla="*/ 416 h 679"/>
                <a:gd name="T28" fmla="*/ 141 w 747"/>
                <a:gd name="T29" fmla="*/ 436 h 679"/>
                <a:gd name="T30" fmla="*/ 156 w 747"/>
                <a:gd name="T31" fmla="*/ 454 h 679"/>
                <a:gd name="T32" fmla="*/ 173 w 747"/>
                <a:gd name="T33" fmla="*/ 473 h 679"/>
                <a:gd name="T34" fmla="*/ 191 w 747"/>
                <a:gd name="T35" fmla="*/ 491 h 679"/>
                <a:gd name="T36" fmla="*/ 208 w 747"/>
                <a:gd name="T37" fmla="*/ 508 h 679"/>
                <a:gd name="T38" fmla="*/ 246 w 747"/>
                <a:gd name="T39" fmla="*/ 540 h 679"/>
                <a:gd name="T40" fmla="*/ 286 w 747"/>
                <a:gd name="T41" fmla="*/ 568 h 679"/>
                <a:gd name="T42" fmla="*/ 328 w 747"/>
                <a:gd name="T43" fmla="*/ 594 h 679"/>
                <a:gd name="T44" fmla="*/ 370 w 747"/>
                <a:gd name="T45" fmla="*/ 615 h 679"/>
                <a:gd name="T46" fmla="*/ 415 w 747"/>
                <a:gd name="T47" fmla="*/ 635 h 679"/>
                <a:gd name="T48" fmla="*/ 461 w 747"/>
                <a:gd name="T49" fmla="*/ 650 h 679"/>
                <a:gd name="T50" fmla="*/ 507 w 747"/>
                <a:gd name="T51" fmla="*/ 662 h 679"/>
                <a:gd name="T52" fmla="*/ 554 w 747"/>
                <a:gd name="T53" fmla="*/ 672 h 679"/>
                <a:gd name="T54" fmla="*/ 601 w 747"/>
                <a:gd name="T55" fmla="*/ 678 h 679"/>
                <a:gd name="T56" fmla="*/ 650 w 747"/>
                <a:gd name="T57" fmla="*/ 679 h 679"/>
                <a:gd name="T58" fmla="*/ 698 w 747"/>
                <a:gd name="T59" fmla="*/ 678 h 679"/>
                <a:gd name="T60" fmla="*/ 747 w 747"/>
                <a:gd name="T61" fmla="*/ 673 h 679"/>
                <a:gd name="T62" fmla="*/ 649 w 747"/>
                <a:gd name="T63" fmla="*/ 0 h 679"/>
                <a:gd name="T64" fmla="*/ 0 w 747"/>
                <a:gd name="T65" fmla="*/ 138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7" h="679">
                  <a:moveTo>
                    <a:pt x="0" y="138"/>
                  </a:moveTo>
                  <a:lnTo>
                    <a:pt x="0" y="138"/>
                  </a:lnTo>
                  <a:lnTo>
                    <a:pt x="6" y="165"/>
                  </a:lnTo>
                  <a:lnTo>
                    <a:pt x="14" y="193"/>
                  </a:lnTo>
                  <a:lnTo>
                    <a:pt x="22" y="220"/>
                  </a:lnTo>
                  <a:lnTo>
                    <a:pt x="31" y="246"/>
                  </a:lnTo>
                  <a:lnTo>
                    <a:pt x="41" y="274"/>
                  </a:lnTo>
                  <a:lnTo>
                    <a:pt x="54" y="300"/>
                  </a:lnTo>
                  <a:lnTo>
                    <a:pt x="67" y="326"/>
                  </a:lnTo>
                  <a:lnTo>
                    <a:pt x="81" y="352"/>
                  </a:lnTo>
                  <a:lnTo>
                    <a:pt x="81" y="352"/>
                  </a:lnTo>
                  <a:lnTo>
                    <a:pt x="95" y="375"/>
                  </a:lnTo>
                  <a:lnTo>
                    <a:pt x="110" y="396"/>
                  </a:lnTo>
                  <a:lnTo>
                    <a:pt x="124" y="416"/>
                  </a:lnTo>
                  <a:lnTo>
                    <a:pt x="141" y="436"/>
                  </a:lnTo>
                  <a:lnTo>
                    <a:pt x="156" y="454"/>
                  </a:lnTo>
                  <a:lnTo>
                    <a:pt x="173" y="473"/>
                  </a:lnTo>
                  <a:lnTo>
                    <a:pt x="191" y="491"/>
                  </a:lnTo>
                  <a:lnTo>
                    <a:pt x="208" y="508"/>
                  </a:lnTo>
                  <a:lnTo>
                    <a:pt x="246" y="540"/>
                  </a:lnTo>
                  <a:lnTo>
                    <a:pt x="286" y="568"/>
                  </a:lnTo>
                  <a:lnTo>
                    <a:pt x="328" y="594"/>
                  </a:lnTo>
                  <a:lnTo>
                    <a:pt x="370" y="615"/>
                  </a:lnTo>
                  <a:lnTo>
                    <a:pt x="415" y="635"/>
                  </a:lnTo>
                  <a:lnTo>
                    <a:pt x="461" y="650"/>
                  </a:lnTo>
                  <a:lnTo>
                    <a:pt x="507" y="662"/>
                  </a:lnTo>
                  <a:lnTo>
                    <a:pt x="554" y="672"/>
                  </a:lnTo>
                  <a:lnTo>
                    <a:pt x="601" y="678"/>
                  </a:lnTo>
                  <a:lnTo>
                    <a:pt x="650" y="679"/>
                  </a:lnTo>
                  <a:lnTo>
                    <a:pt x="698" y="678"/>
                  </a:lnTo>
                  <a:lnTo>
                    <a:pt x="747" y="673"/>
                  </a:lnTo>
                  <a:lnTo>
                    <a:pt x="649" y="0"/>
                  </a:lnTo>
                  <a:lnTo>
                    <a:pt x="0" y="13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CM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rPr>
                <a:t> </a:t>
              </a:r>
              <a:endParaRPr kumimoji="0" lang="id-ID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endParaRPr>
            </a:p>
          </p:txBody>
        </p:sp>
        <p:sp>
          <p:nvSpPr>
            <p:cNvPr id="223" name="Freeform 11">
              <a:extLst>
                <a:ext uri="{FF2B5EF4-FFF2-40B4-BE49-F238E27FC236}">
                  <a16:creationId xmlns="" xmlns:a16="http://schemas.microsoft.com/office/drawing/2014/main" id="{5176AEA8-19B3-4E47-93D8-31A346665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1237" y="2656185"/>
              <a:ext cx="1914953" cy="1790518"/>
            </a:xfrm>
            <a:custGeom>
              <a:avLst/>
              <a:gdLst>
                <a:gd name="T0" fmla="*/ 562 w 562"/>
                <a:gd name="T1" fmla="*/ 280 h 562"/>
                <a:gd name="T2" fmla="*/ 556 w 562"/>
                <a:gd name="T3" fmla="*/ 337 h 562"/>
                <a:gd name="T4" fmla="*/ 539 w 562"/>
                <a:gd name="T5" fmla="*/ 390 h 562"/>
                <a:gd name="T6" fmla="*/ 513 w 562"/>
                <a:gd name="T7" fmla="*/ 438 h 562"/>
                <a:gd name="T8" fmla="*/ 479 w 562"/>
                <a:gd name="T9" fmla="*/ 479 h 562"/>
                <a:gd name="T10" fmla="*/ 438 w 562"/>
                <a:gd name="T11" fmla="*/ 513 h 562"/>
                <a:gd name="T12" fmla="*/ 390 w 562"/>
                <a:gd name="T13" fmla="*/ 539 h 562"/>
                <a:gd name="T14" fmla="*/ 337 w 562"/>
                <a:gd name="T15" fmla="*/ 556 h 562"/>
                <a:gd name="T16" fmla="*/ 282 w 562"/>
                <a:gd name="T17" fmla="*/ 562 h 562"/>
                <a:gd name="T18" fmla="*/ 253 w 562"/>
                <a:gd name="T19" fmla="*/ 560 h 562"/>
                <a:gd name="T20" fmla="*/ 198 w 562"/>
                <a:gd name="T21" fmla="*/ 548 h 562"/>
                <a:gd name="T22" fmla="*/ 147 w 562"/>
                <a:gd name="T23" fmla="*/ 528 h 562"/>
                <a:gd name="T24" fmla="*/ 103 w 562"/>
                <a:gd name="T25" fmla="*/ 498 h 562"/>
                <a:gd name="T26" fmla="*/ 64 w 562"/>
                <a:gd name="T27" fmla="*/ 459 h 562"/>
                <a:gd name="T28" fmla="*/ 34 w 562"/>
                <a:gd name="T29" fmla="*/ 415 h 562"/>
                <a:gd name="T30" fmla="*/ 14 w 562"/>
                <a:gd name="T31" fmla="*/ 364 h 562"/>
                <a:gd name="T32" fmla="*/ 2 w 562"/>
                <a:gd name="T33" fmla="*/ 309 h 562"/>
                <a:gd name="T34" fmla="*/ 0 w 562"/>
                <a:gd name="T35" fmla="*/ 280 h 562"/>
                <a:gd name="T36" fmla="*/ 6 w 562"/>
                <a:gd name="T37" fmla="*/ 224 h 562"/>
                <a:gd name="T38" fmla="*/ 23 w 562"/>
                <a:gd name="T39" fmla="*/ 172 h 562"/>
                <a:gd name="T40" fmla="*/ 49 w 562"/>
                <a:gd name="T41" fmla="*/ 124 h 562"/>
                <a:gd name="T42" fmla="*/ 83 w 562"/>
                <a:gd name="T43" fmla="*/ 83 h 562"/>
                <a:gd name="T44" fmla="*/ 124 w 562"/>
                <a:gd name="T45" fmla="*/ 48 h 562"/>
                <a:gd name="T46" fmla="*/ 171 w 562"/>
                <a:gd name="T47" fmla="*/ 23 h 562"/>
                <a:gd name="T48" fmla="*/ 225 w 562"/>
                <a:gd name="T49" fmla="*/ 6 h 562"/>
                <a:gd name="T50" fmla="*/ 282 w 562"/>
                <a:gd name="T51" fmla="*/ 0 h 562"/>
                <a:gd name="T52" fmla="*/ 309 w 562"/>
                <a:gd name="T53" fmla="*/ 2 h 562"/>
                <a:gd name="T54" fmla="*/ 364 w 562"/>
                <a:gd name="T55" fmla="*/ 12 h 562"/>
                <a:gd name="T56" fmla="*/ 415 w 562"/>
                <a:gd name="T57" fmla="*/ 34 h 562"/>
                <a:gd name="T58" fmla="*/ 459 w 562"/>
                <a:gd name="T59" fmla="*/ 64 h 562"/>
                <a:gd name="T60" fmla="*/ 497 w 562"/>
                <a:gd name="T61" fmla="*/ 103 h 562"/>
                <a:gd name="T62" fmla="*/ 528 w 562"/>
                <a:gd name="T63" fmla="*/ 147 h 562"/>
                <a:gd name="T64" fmla="*/ 549 w 562"/>
                <a:gd name="T65" fmla="*/ 198 h 562"/>
                <a:gd name="T66" fmla="*/ 560 w 562"/>
                <a:gd name="T67" fmla="*/ 253 h 562"/>
                <a:gd name="T68" fmla="*/ 562 w 562"/>
                <a:gd name="T69" fmla="*/ 280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2" h="562">
                  <a:moveTo>
                    <a:pt x="562" y="280"/>
                  </a:moveTo>
                  <a:lnTo>
                    <a:pt x="562" y="280"/>
                  </a:lnTo>
                  <a:lnTo>
                    <a:pt x="560" y="309"/>
                  </a:lnTo>
                  <a:lnTo>
                    <a:pt x="556" y="337"/>
                  </a:lnTo>
                  <a:lnTo>
                    <a:pt x="549" y="364"/>
                  </a:lnTo>
                  <a:lnTo>
                    <a:pt x="539" y="390"/>
                  </a:lnTo>
                  <a:lnTo>
                    <a:pt x="528" y="415"/>
                  </a:lnTo>
                  <a:lnTo>
                    <a:pt x="513" y="438"/>
                  </a:lnTo>
                  <a:lnTo>
                    <a:pt x="497" y="459"/>
                  </a:lnTo>
                  <a:lnTo>
                    <a:pt x="479" y="479"/>
                  </a:lnTo>
                  <a:lnTo>
                    <a:pt x="459" y="498"/>
                  </a:lnTo>
                  <a:lnTo>
                    <a:pt x="438" y="513"/>
                  </a:lnTo>
                  <a:lnTo>
                    <a:pt x="415" y="528"/>
                  </a:lnTo>
                  <a:lnTo>
                    <a:pt x="390" y="539"/>
                  </a:lnTo>
                  <a:lnTo>
                    <a:pt x="364" y="548"/>
                  </a:lnTo>
                  <a:lnTo>
                    <a:pt x="337" y="556"/>
                  </a:lnTo>
                  <a:lnTo>
                    <a:pt x="309" y="560"/>
                  </a:lnTo>
                  <a:lnTo>
                    <a:pt x="282" y="562"/>
                  </a:lnTo>
                  <a:lnTo>
                    <a:pt x="282" y="562"/>
                  </a:lnTo>
                  <a:lnTo>
                    <a:pt x="253" y="560"/>
                  </a:lnTo>
                  <a:lnTo>
                    <a:pt x="225" y="556"/>
                  </a:lnTo>
                  <a:lnTo>
                    <a:pt x="198" y="548"/>
                  </a:lnTo>
                  <a:lnTo>
                    <a:pt x="171" y="539"/>
                  </a:lnTo>
                  <a:lnTo>
                    <a:pt x="147" y="528"/>
                  </a:lnTo>
                  <a:lnTo>
                    <a:pt x="124" y="513"/>
                  </a:lnTo>
                  <a:lnTo>
                    <a:pt x="103" y="498"/>
                  </a:lnTo>
                  <a:lnTo>
                    <a:pt x="83" y="479"/>
                  </a:lnTo>
                  <a:lnTo>
                    <a:pt x="64" y="459"/>
                  </a:lnTo>
                  <a:lnTo>
                    <a:pt x="49" y="438"/>
                  </a:lnTo>
                  <a:lnTo>
                    <a:pt x="34" y="415"/>
                  </a:lnTo>
                  <a:lnTo>
                    <a:pt x="23" y="390"/>
                  </a:lnTo>
                  <a:lnTo>
                    <a:pt x="14" y="364"/>
                  </a:lnTo>
                  <a:lnTo>
                    <a:pt x="6" y="337"/>
                  </a:lnTo>
                  <a:lnTo>
                    <a:pt x="2" y="309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2" y="253"/>
                  </a:lnTo>
                  <a:lnTo>
                    <a:pt x="6" y="224"/>
                  </a:lnTo>
                  <a:lnTo>
                    <a:pt x="14" y="198"/>
                  </a:lnTo>
                  <a:lnTo>
                    <a:pt x="23" y="172"/>
                  </a:lnTo>
                  <a:lnTo>
                    <a:pt x="34" y="147"/>
                  </a:lnTo>
                  <a:lnTo>
                    <a:pt x="49" y="124"/>
                  </a:lnTo>
                  <a:lnTo>
                    <a:pt x="64" y="103"/>
                  </a:lnTo>
                  <a:lnTo>
                    <a:pt x="83" y="83"/>
                  </a:lnTo>
                  <a:lnTo>
                    <a:pt x="103" y="64"/>
                  </a:lnTo>
                  <a:lnTo>
                    <a:pt x="124" y="48"/>
                  </a:lnTo>
                  <a:lnTo>
                    <a:pt x="147" y="34"/>
                  </a:lnTo>
                  <a:lnTo>
                    <a:pt x="171" y="23"/>
                  </a:lnTo>
                  <a:lnTo>
                    <a:pt x="198" y="12"/>
                  </a:lnTo>
                  <a:lnTo>
                    <a:pt x="225" y="6"/>
                  </a:lnTo>
                  <a:lnTo>
                    <a:pt x="253" y="2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309" y="2"/>
                  </a:lnTo>
                  <a:lnTo>
                    <a:pt x="337" y="6"/>
                  </a:lnTo>
                  <a:lnTo>
                    <a:pt x="364" y="12"/>
                  </a:lnTo>
                  <a:lnTo>
                    <a:pt x="390" y="23"/>
                  </a:lnTo>
                  <a:lnTo>
                    <a:pt x="415" y="34"/>
                  </a:lnTo>
                  <a:lnTo>
                    <a:pt x="438" y="48"/>
                  </a:lnTo>
                  <a:lnTo>
                    <a:pt x="459" y="64"/>
                  </a:lnTo>
                  <a:lnTo>
                    <a:pt x="479" y="83"/>
                  </a:lnTo>
                  <a:lnTo>
                    <a:pt x="497" y="103"/>
                  </a:lnTo>
                  <a:lnTo>
                    <a:pt x="513" y="124"/>
                  </a:lnTo>
                  <a:lnTo>
                    <a:pt x="528" y="147"/>
                  </a:lnTo>
                  <a:lnTo>
                    <a:pt x="539" y="172"/>
                  </a:lnTo>
                  <a:lnTo>
                    <a:pt x="549" y="198"/>
                  </a:lnTo>
                  <a:lnTo>
                    <a:pt x="556" y="224"/>
                  </a:lnTo>
                  <a:lnTo>
                    <a:pt x="560" y="253"/>
                  </a:lnTo>
                  <a:lnTo>
                    <a:pt x="562" y="280"/>
                  </a:lnTo>
                  <a:lnTo>
                    <a:pt x="562" y="2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CM" sz="2000" b="0" i="0" u="none" strike="noStrike" kern="0" cap="none" spc="0" normalizeH="0" baseline="0" noProof="0" dirty="0" err="1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Segoe UI Light"/>
                </a:rPr>
                <a:t>Ucac-icam</a:t>
              </a:r>
              <a:r>
                <a:rPr kumimoji="0" lang="fr-CM" sz="20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Segoe UI Light"/>
                </a:rPr>
                <a:t>/</a:t>
              </a:r>
              <a:endParaRPr lang="fr-CM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CM" sz="2000" b="0" i="0" u="none" strike="noStrike" kern="0" cap="none" spc="0" normalizeH="0" baseline="0" noProof="0" dirty="0" err="1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Segoe UI Light"/>
                </a:rPr>
                <a:t>Cesi-Exia</a:t>
              </a:r>
              <a:endParaRPr kumimoji="0" lang="id-ID" sz="2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Segoe UI Light"/>
              </a:endParaRP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="" xmlns:a16="http://schemas.microsoft.com/office/drawing/2014/main" id="{155FE260-F47E-4123-8094-7526C8EA3AFD}"/>
              </a:ext>
            </a:extLst>
          </p:cNvPr>
          <p:cNvGrpSpPr/>
          <p:nvPr/>
        </p:nvGrpSpPr>
        <p:grpSpPr>
          <a:xfrm>
            <a:off x="7356524" y="2677537"/>
            <a:ext cx="241300" cy="371476"/>
            <a:chOff x="4530725" y="3243263"/>
            <a:chExt cx="241300" cy="371476"/>
          </a:xfrm>
          <a:solidFill>
            <a:schemeClr val="bg1"/>
          </a:solidFill>
        </p:grpSpPr>
        <p:sp>
          <p:nvSpPr>
            <p:cNvPr id="249" name="Freeform 5">
              <a:extLst>
                <a:ext uri="{FF2B5EF4-FFF2-40B4-BE49-F238E27FC236}">
                  <a16:creationId xmlns="" xmlns:a16="http://schemas.microsoft.com/office/drawing/2014/main" id="{9DE3D45B-30C9-49D2-A260-89C8CDD6B9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2950" y="3363913"/>
              <a:ext cx="184150" cy="92075"/>
            </a:xfrm>
            <a:custGeom>
              <a:avLst/>
              <a:gdLst>
                <a:gd name="T0" fmla="*/ 0 w 49"/>
                <a:gd name="T1" fmla="*/ 18 h 24"/>
                <a:gd name="T2" fmla="*/ 0 w 49"/>
                <a:gd name="T3" fmla="*/ 20 h 24"/>
                <a:gd name="T4" fmla="*/ 2 w 49"/>
                <a:gd name="T5" fmla="*/ 21 h 24"/>
                <a:gd name="T6" fmla="*/ 10 w 49"/>
                <a:gd name="T7" fmla="*/ 21 h 24"/>
                <a:gd name="T8" fmla="*/ 7 w 49"/>
                <a:gd name="T9" fmla="*/ 24 h 24"/>
                <a:gd name="T10" fmla="*/ 49 w 49"/>
                <a:gd name="T11" fmla="*/ 13 h 24"/>
                <a:gd name="T12" fmla="*/ 40 w 49"/>
                <a:gd name="T13" fmla="*/ 0 h 24"/>
                <a:gd name="T14" fmla="*/ 6 w 49"/>
                <a:gd name="T15" fmla="*/ 10 h 24"/>
                <a:gd name="T16" fmla="*/ 0 w 49"/>
                <a:gd name="T17" fmla="*/ 18 h 24"/>
                <a:gd name="T18" fmla="*/ 34 w 49"/>
                <a:gd name="T19" fmla="*/ 9 h 24"/>
                <a:gd name="T20" fmla="*/ 36 w 49"/>
                <a:gd name="T21" fmla="*/ 11 h 24"/>
                <a:gd name="T22" fmla="*/ 34 w 49"/>
                <a:gd name="T23" fmla="*/ 13 h 24"/>
                <a:gd name="T24" fmla="*/ 32 w 49"/>
                <a:gd name="T25" fmla="*/ 11 h 24"/>
                <a:gd name="T26" fmla="*/ 34 w 49"/>
                <a:gd name="T27" fmla="*/ 9 h 24"/>
                <a:gd name="T28" fmla="*/ 26 w 49"/>
                <a:gd name="T29" fmla="*/ 13 h 24"/>
                <a:gd name="T30" fmla="*/ 28 w 49"/>
                <a:gd name="T31" fmla="*/ 15 h 24"/>
                <a:gd name="T32" fmla="*/ 26 w 49"/>
                <a:gd name="T33" fmla="*/ 17 h 24"/>
                <a:gd name="T34" fmla="*/ 24 w 49"/>
                <a:gd name="T35" fmla="*/ 15 h 24"/>
                <a:gd name="T36" fmla="*/ 26 w 49"/>
                <a:gd name="T37" fmla="*/ 13 h 24"/>
                <a:gd name="T38" fmla="*/ 18 w 49"/>
                <a:gd name="T39" fmla="*/ 9 h 24"/>
                <a:gd name="T40" fmla="*/ 20 w 49"/>
                <a:gd name="T41" fmla="*/ 11 h 24"/>
                <a:gd name="T42" fmla="*/ 18 w 49"/>
                <a:gd name="T43" fmla="*/ 13 h 24"/>
                <a:gd name="T44" fmla="*/ 16 w 49"/>
                <a:gd name="T45" fmla="*/ 11 h 24"/>
                <a:gd name="T46" fmla="*/ 18 w 49"/>
                <a:gd name="T47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" h="24">
                  <a:moveTo>
                    <a:pt x="0" y="18"/>
                  </a:moveTo>
                  <a:cubicBezTo>
                    <a:pt x="0" y="19"/>
                    <a:pt x="0" y="19"/>
                    <a:pt x="0" y="20"/>
                  </a:cubicBezTo>
                  <a:cubicBezTo>
                    <a:pt x="1" y="21"/>
                    <a:pt x="1" y="21"/>
                    <a:pt x="2" y="21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0" y="18"/>
                  </a:lnTo>
                  <a:close/>
                  <a:moveTo>
                    <a:pt x="34" y="9"/>
                  </a:moveTo>
                  <a:cubicBezTo>
                    <a:pt x="35" y="9"/>
                    <a:pt x="36" y="10"/>
                    <a:pt x="36" y="11"/>
                  </a:cubicBezTo>
                  <a:cubicBezTo>
                    <a:pt x="36" y="12"/>
                    <a:pt x="35" y="13"/>
                    <a:pt x="34" y="13"/>
                  </a:cubicBezTo>
                  <a:cubicBezTo>
                    <a:pt x="33" y="13"/>
                    <a:pt x="32" y="12"/>
                    <a:pt x="32" y="11"/>
                  </a:cubicBezTo>
                  <a:cubicBezTo>
                    <a:pt x="32" y="10"/>
                    <a:pt x="33" y="9"/>
                    <a:pt x="34" y="9"/>
                  </a:cubicBezTo>
                  <a:close/>
                  <a:moveTo>
                    <a:pt x="26" y="13"/>
                  </a:moveTo>
                  <a:cubicBezTo>
                    <a:pt x="27" y="13"/>
                    <a:pt x="28" y="14"/>
                    <a:pt x="28" y="15"/>
                  </a:cubicBezTo>
                  <a:cubicBezTo>
                    <a:pt x="28" y="16"/>
                    <a:pt x="27" y="17"/>
                    <a:pt x="26" y="17"/>
                  </a:cubicBezTo>
                  <a:cubicBezTo>
                    <a:pt x="25" y="17"/>
                    <a:pt x="24" y="16"/>
                    <a:pt x="24" y="15"/>
                  </a:cubicBezTo>
                  <a:cubicBezTo>
                    <a:pt x="24" y="14"/>
                    <a:pt x="25" y="13"/>
                    <a:pt x="26" y="13"/>
                  </a:cubicBezTo>
                  <a:close/>
                  <a:moveTo>
                    <a:pt x="18" y="9"/>
                  </a:moveTo>
                  <a:cubicBezTo>
                    <a:pt x="19" y="9"/>
                    <a:pt x="20" y="10"/>
                    <a:pt x="20" y="11"/>
                  </a:cubicBezTo>
                  <a:cubicBezTo>
                    <a:pt x="20" y="12"/>
                    <a:pt x="19" y="13"/>
                    <a:pt x="18" y="13"/>
                  </a:cubicBezTo>
                  <a:cubicBezTo>
                    <a:pt x="17" y="13"/>
                    <a:pt x="16" y="12"/>
                    <a:pt x="16" y="11"/>
                  </a:cubicBezTo>
                  <a:cubicBezTo>
                    <a:pt x="16" y="10"/>
                    <a:pt x="17" y="9"/>
                    <a:pt x="1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0" name="Freeform 6">
              <a:extLst>
                <a:ext uri="{FF2B5EF4-FFF2-40B4-BE49-F238E27FC236}">
                  <a16:creationId xmlns="" xmlns:a16="http://schemas.microsoft.com/office/drawing/2014/main" id="{14BFA9C7-8BCE-44ED-816B-B926E1D83E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3113" y="3243263"/>
              <a:ext cx="136525" cy="139700"/>
            </a:xfrm>
            <a:custGeom>
              <a:avLst/>
              <a:gdLst>
                <a:gd name="T0" fmla="*/ 2 w 36"/>
                <a:gd name="T1" fmla="*/ 28 h 36"/>
                <a:gd name="T2" fmla="*/ 6 w 36"/>
                <a:gd name="T3" fmla="*/ 28 h 36"/>
                <a:gd name="T4" fmla="*/ 1 w 36"/>
                <a:gd name="T5" fmla="*/ 36 h 36"/>
                <a:gd name="T6" fmla="*/ 36 w 36"/>
                <a:gd name="T7" fmla="*/ 26 h 36"/>
                <a:gd name="T8" fmla="*/ 20 w 36"/>
                <a:gd name="T9" fmla="*/ 1 h 36"/>
                <a:gd name="T10" fmla="*/ 16 w 36"/>
                <a:gd name="T11" fmla="*/ 1 h 36"/>
                <a:gd name="T12" fmla="*/ 0 w 36"/>
                <a:gd name="T13" fmla="*/ 25 h 36"/>
                <a:gd name="T14" fmla="*/ 0 w 36"/>
                <a:gd name="T15" fmla="*/ 27 h 36"/>
                <a:gd name="T16" fmla="*/ 2 w 36"/>
                <a:gd name="T17" fmla="*/ 28 h 36"/>
                <a:gd name="T18" fmla="*/ 18 w 36"/>
                <a:gd name="T19" fmla="*/ 16 h 36"/>
                <a:gd name="T20" fmla="*/ 20 w 36"/>
                <a:gd name="T21" fmla="*/ 18 h 36"/>
                <a:gd name="T22" fmla="*/ 18 w 36"/>
                <a:gd name="T23" fmla="*/ 20 h 36"/>
                <a:gd name="T24" fmla="*/ 16 w 36"/>
                <a:gd name="T25" fmla="*/ 18 h 36"/>
                <a:gd name="T26" fmla="*/ 18 w 36"/>
                <a:gd name="T27" fmla="*/ 16 h 36"/>
                <a:gd name="T28" fmla="*/ 18 w 36"/>
                <a:gd name="T29" fmla="*/ 24 h 36"/>
                <a:gd name="T30" fmla="*/ 20 w 36"/>
                <a:gd name="T31" fmla="*/ 26 h 36"/>
                <a:gd name="T32" fmla="*/ 18 w 36"/>
                <a:gd name="T33" fmla="*/ 28 h 36"/>
                <a:gd name="T34" fmla="*/ 16 w 36"/>
                <a:gd name="T35" fmla="*/ 26 h 36"/>
                <a:gd name="T36" fmla="*/ 18 w 36"/>
                <a:gd name="T3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" h="36">
                  <a:moveTo>
                    <a:pt x="2" y="28"/>
                  </a:moveTo>
                  <a:cubicBezTo>
                    <a:pt x="6" y="28"/>
                    <a:pt x="6" y="28"/>
                    <a:pt x="6" y="28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20" y="1"/>
                    <a:pt x="20" y="1"/>
                  </a:cubicBezTo>
                  <a:cubicBezTo>
                    <a:pt x="19" y="0"/>
                    <a:pt x="17" y="0"/>
                    <a:pt x="16" y="1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7"/>
                  </a:cubicBezTo>
                  <a:cubicBezTo>
                    <a:pt x="1" y="28"/>
                    <a:pt x="1" y="28"/>
                    <a:pt x="2" y="28"/>
                  </a:cubicBezTo>
                  <a:close/>
                  <a:moveTo>
                    <a:pt x="18" y="16"/>
                  </a:moveTo>
                  <a:cubicBezTo>
                    <a:pt x="19" y="16"/>
                    <a:pt x="20" y="17"/>
                    <a:pt x="20" y="18"/>
                  </a:cubicBezTo>
                  <a:cubicBezTo>
                    <a:pt x="20" y="19"/>
                    <a:pt x="19" y="20"/>
                    <a:pt x="18" y="20"/>
                  </a:cubicBezTo>
                  <a:cubicBezTo>
                    <a:pt x="17" y="20"/>
                    <a:pt x="16" y="19"/>
                    <a:pt x="16" y="18"/>
                  </a:cubicBezTo>
                  <a:cubicBezTo>
                    <a:pt x="16" y="17"/>
                    <a:pt x="17" y="16"/>
                    <a:pt x="18" y="16"/>
                  </a:cubicBezTo>
                  <a:close/>
                  <a:moveTo>
                    <a:pt x="18" y="24"/>
                  </a:moveTo>
                  <a:cubicBezTo>
                    <a:pt x="19" y="24"/>
                    <a:pt x="20" y="25"/>
                    <a:pt x="20" y="26"/>
                  </a:cubicBezTo>
                  <a:cubicBezTo>
                    <a:pt x="20" y="27"/>
                    <a:pt x="19" y="28"/>
                    <a:pt x="18" y="28"/>
                  </a:cubicBezTo>
                  <a:cubicBezTo>
                    <a:pt x="17" y="28"/>
                    <a:pt x="16" y="27"/>
                    <a:pt x="16" y="26"/>
                  </a:cubicBezTo>
                  <a:cubicBezTo>
                    <a:pt x="16" y="25"/>
                    <a:pt x="17" y="24"/>
                    <a:pt x="1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1" name="Freeform 7">
              <a:extLst>
                <a:ext uri="{FF2B5EF4-FFF2-40B4-BE49-F238E27FC236}">
                  <a16:creationId xmlns="" xmlns:a16="http://schemas.microsoft.com/office/drawing/2014/main" id="{195561B6-F7DF-4E03-AD21-19221233E3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0725" y="3429001"/>
              <a:ext cx="241300" cy="185738"/>
            </a:xfrm>
            <a:custGeom>
              <a:avLst/>
              <a:gdLst>
                <a:gd name="T0" fmla="*/ 48 w 64"/>
                <a:gd name="T1" fmla="*/ 4 h 48"/>
                <a:gd name="T2" fmla="*/ 56 w 64"/>
                <a:gd name="T3" fmla="*/ 4 h 48"/>
                <a:gd name="T4" fmla="*/ 58 w 64"/>
                <a:gd name="T5" fmla="*/ 3 h 48"/>
                <a:gd name="T6" fmla="*/ 58 w 64"/>
                <a:gd name="T7" fmla="*/ 1 h 48"/>
                <a:gd name="T8" fmla="*/ 57 w 64"/>
                <a:gd name="T9" fmla="*/ 0 h 48"/>
                <a:gd name="T10" fmla="*/ 10 w 64"/>
                <a:gd name="T11" fmla="*/ 13 h 48"/>
                <a:gd name="T12" fmla="*/ 0 w 64"/>
                <a:gd name="T13" fmla="*/ 25 h 48"/>
                <a:gd name="T14" fmla="*/ 0 w 64"/>
                <a:gd name="T15" fmla="*/ 27 h 48"/>
                <a:gd name="T16" fmla="*/ 2 w 64"/>
                <a:gd name="T17" fmla="*/ 28 h 48"/>
                <a:gd name="T18" fmla="*/ 28 w 64"/>
                <a:gd name="T19" fmla="*/ 28 h 48"/>
                <a:gd name="T20" fmla="*/ 28 w 64"/>
                <a:gd name="T21" fmla="*/ 44 h 48"/>
                <a:gd name="T22" fmla="*/ 32 w 64"/>
                <a:gd name="T23" fmla="*/ 48 h 48"/>
                <a:gd name="T24" fmla="*/ 36 w 64"/>
                <a:gd name="T25" fmla="*/ 44 h 48"/>
                <a:gd name="T26" fmla="*/ 36 w 64"/>
                <a:gd name="T27" fmla="*/ 28 h 48"/>
                <a:gd name="T28" fmla="*/ 62 w 64"/>
                <a:gd name="T29" fmla="*/ 28 h 48"/>
                <a:gd name="T30" fmla="*/ 64 w 64"/>
                <a:gd name="T31" fmla="*/ 27 h 48"/>
                <a:gd name="T32" fmla="*/ 64 w 64"/>
                <a:gd name="T33" fmla="*/ 25 h 48"/>
                <a:gd name="T34" fmla="*/ 48 w 64"/>
                <a:gd name="T35" fmla="*/ 4 h 48"/>
                <a:gd name="T36" fmla="*/ 16 w 64"/>
                <a:gd name="T37" fmla="*/ 20 h 48"/>
                <a:gd name="T38" fmla="*/ 14 w 64"/>
                <a:gd name="T39" fmla="*/ 18 h 48"/>
                <a:gd name="T40" fmla="*/ 16 w 64"/>
                <a:gd name="T41" fmla="*/ 16 h 48"/>
                <a:gd name="T42" fmla="*/ 18 w 64"/>
                <a:gd name="T43" fmla="*/ 18 h 48"/>
                <a:gd name="T44" fmla="*/ 16 w 64"/>
                <a:gd name="T45" fmla="*/ 20 h 48"/>
                <a:gd name="T46" fmla="*/ 28 w 64"/>
                <a:gd name="T47" fmla="*/ 20 h 48"/>
                <a:gd name="T48" fmla="*/ 26 w 64"/>
                <a:gd name="T49" fmla="*/ 18 h 48"/>
                <a:gd name="T50" fmla="*/ 28 w 64"/>
                <a:gd name="T51" fmla="*/ 16 h 48"/>
                <a:gd name="T52" fmla="*/ 30 w 64"/>
                <a:gd name="T53" fmla="*/ 18 h 48"/>
                <a:gd name="T54" fmla="*/ 28 w 64"/>
                <a:gd name="T55" fmla="*/ 20 h 48"/>
                <a:gd name="T56" fmla="*/ 40 w 64"/>
                <a:gd name="T57" fmla="*/ 12 h 48"/>
                <a:gd name="T58" fmla="*/ 38 w 64"/>
                <a:gd name="T59" fmla="*/ 10 h 48"/>
                <a:gd name="T60" fmla="*/ 40 w 64"/>
                <a:gd name="T61" fmla="*/ 8 h 48"/>
                <a:gd name="T62" fmla="*/ 42 w 64"/>
                <a:gd name="T63" fmla="*/ 10 h 48"/>
                <a:gd name="T64" fmla="*/ 40 w 64"/>
                <a:gd name="T65" fmla="*/ 12 h 48"/>
                <a:gd name="T66" fmla="*/ 44 w 64"/>
                <a:gd name="T67" fmla="*/ 20 h 48"/>
                <a:gd name="T68" fmla="*/ 42 w 64"/>
                <a:gd name="T69" fmla="*/ 18 h 48"/>
                <a:gd name="T70" fmla="*/ 44 w 64"/>
                <a:gd name="T71" fmla="*/ 16 h 48"/>
                <a:gd name="T72" fmla="*/ 46 w 64"/>
                <a:gd name="T73" fmla="*/ 18 h 48"/>
                <a:gd name="T74" fmla="*/ 44 w 64"/>
                <a:gd name="T75" fmla="*/ 2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4" h="48">
                  <a:moveTo>
                    <a:pt x="48" y="4"/>
                  </a:moveTo>
                  <a:cubicBezTo>
                    <a:pt x="56" y="4"/>
                    <a:pt x="56" y="4"/>
                    <a:pt x="56" y="4"/>
                  </a:cubicBezTo>
                  <a:cubicBezTo>
                    <a:pt x="57" y="4"/>
                    <a:pt x="57" y="4"/>
                    <a:pt x="58" y="3"/>
                  </a:cubicBezTo>
                  <a:cubicBezTo>
                    <a:pt x="58" y="2"/>
                    <a:pt x="58" y="2"/>
                    <a:pt x="58" y="1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1" y="28"/>
                    <a:pt x="1" y="28"/>
                    <a:pt x="2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6"/>
                    <a:pt x="30" y="48"/>
                    <a:pt x="32" y="48"/>
                  </a:cubicBezTo>
                  <a:cubicBezTo>
                    <a:pt x="34" y="48"/>
                    <a:pt x="36" y="46"/>
                    <a:pt x="36" y="44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62" y="28"/>
                    <a:pt x="62" y="28"/>
                    <a:pt x="62" y="28"/>
                  </a:cubicBezTo>
                  <a:cubicBezTo>
                    <a:pt x="63" y="28"/>
                    <a:pt x="63" y="28"/>
                    <a:pt x="64" y="27"/>
                  </a:cubicBezTo>
                  <a:cubicBezTo>
                    <a:pt x="64" y="26"/>
                    <a:pt x="64" y="25"/>
                    <a:pt x="64" y="25"/>
                  </a:cubicBezTo>
                  <a:lnTo>
                    <a:pt x="48" y="4"/>
                  </a:lnTo>
                  <a:close/>
                  <a:moveTo>
                    <a:pt x="16" y="20"/>
                  </a:moveTo>
                  <a:cubicBezTo>
                    <a:pt x="15" y="20"/>
                    <a:pt x="14" y="19"/>
                    <a:pt x="14" y="18"/>
                  </a:cubicBezTo>
                  <a:cubicBezTo>
                    <a:pt x="14" y="17"/>
                    <a:pt x="15" y="16"/>
                    <a:pt x="16" y="16"/>
                  </a:cubicBezTo>
                  <a:cubicBezTo>
                    <a:pt x="17" y="16"/>
                    <a:pt x="18" y="17"/>
                    <a:pt x="18" y="18"/>
                  </a:cubicBezTo>
                  <a:cubicBezTo>
                    <a:pt x="18" y="19"/>
                    <a:pt x="17" y="20"/>
                    <a:pt x="16" y="20"/>
                  </a:cubicBezTo>
                  <a:close/>
                  <a:moveTo>
                    <a:pt x="28" y="20"/>
                  </a:moveTo>
                  <a:cubicBezTo>
                    <a:pt x="27" y="20"/>
                    <a:pt x="26" y="19"/>
                    <a:pt x="26" y="18"/>
                  </a:cubicBezTo>
                  <a:cubicBezTo>
                    <a:pt x="26" y="17"/>
                    <a:pt x="27" y="16"/>
                    <a:pt x="28" y="16"/>
                  </a:cubicBezTo>
                  <a:cubicBezTo>
                    <a:pt x="29" y="16"/>
                    <a:pt x="30" y="17"/>
                    <a:pt x="30" y="18"/>
                  </a:cubicBezTo>
                  <a:cubicBezTo>
                    <a:pt x="30" y="19"/>
                    <a:pt x="29" y="20"/>
                    <a:pt x="28" y="20"/>
                  </a:cubicBezTo>
                  <a:close/>
                  <a:moveTo>
                    <a:pt x="40" y="12"/>
                  </a:moveTo>
                  <a:cubicBezTo>
                    <a:pt x="39" y="12"/>
                    <a:pt x="38" y="11"/>
                    <a:pt x="38" y="10"/>
                  </a:cubicBezTo>
                  <a:cubicBezTo>
                    <a:pt x="38" y="9"/>
                    <a:pt x="39" y="8"/>
                    <a:pt x="40" y="8"/>
                  </a:cubicBezTo>
                  <a:cubicBezTo>
                    <a:pt x="41" y="8"/>
                    <a:pt x="42" y="9"/>
                    <a:pt x="42" y="10"/>
                  </a:cubicBezTo>
                  <a:cubicBezTo>
                    <a:pt x="42" y="11"/>
                    <a:pt x="41" y="12"/>
                    <a:pt x="40" y="12"/>
                  </a:cubicBezTo>
                  <a:close/>
                  <a:moveTo>
                    <a:pt x="44" y="20"/>
                  </a:moveTo>
                  <a:cubicBezTo>
                    <a:pt x="43" y="20"/>
                    <a:pt x="42" y="19"/>
                    <a:pt x="42" y="18"/>
                  </a:cubicBezTo>
                  <a:cubicBezTo>
                    <a:pt x="42" y="17"/>
                    <a:pt x="43" y="16"/>
                    <a:pt x="44" y="16"/>
                  </a:cubicBezTo>
                  <a:cubicBezTo>
                    <a:pt x="45" y="16"/>
                    <a:pt x="46" y="17"/>
                    <a:pt x="46" y="18"/>
                  </a:cubicBezTo>
                  <a:cubicBezTo>
                    <a:pt x="46" y="19"/>
                    <a:pt x="45" y="20"/>
                    <a:pt x="4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2" name="Group 251">
            <a:extLst>
              <a:ext uri="{FF2B5EF4-FFF2-40B4-BE49-F238E27FC236}">
                <a16:creationId xmlns="" xmlns:a16="http://schemas.microsoft.com/office/drawing/2014/main" id="{078A8D9D-E87A-4592-AC04-5F707DD0F440}"/>
              </a:ext>
            </a:extLst>
          </p:cNvPr>
          <p:cNvGrpSpPr/>
          <p:nvPr/>
        </p:nvGrpSpPr>
        <p:grpSpPr>
          <a:xfrm>
            <a:off x="5987177" y="4892539"/>
            <a:ext cx="350837" cy="360363"/>
            <a:chOff x="5199063" y="3254376"/>
            <a:chExt cx="350837" cy="360363"/>
          </a:xfrm>
          <a:solidFill>
            <a:schemeClr val="bg1"/>
          </a:solidFill>
        </p:grpSpPr>
        <p:sp>
          <p:nvSpPr>
            <p:cNvPr id="253" name="Freeform 8">
              <a:extLst>
                <a:ext uri="{FF2B5EF4-FFF2-40B4-BE49-F238E27FC236}">
                  <a16:creationId xmlns="" xmlns:a16="http://schemas.microsoft.com/office/drawing/2014/main" id="{7DB9A2AB-236F-4CA2-87D9-02B4C07D0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9875" y="3409951"/>
              <a:ext cx="200025" cy="204788"/>
            </a:xfrm>
            <a:custGeom>
              <a:avLst/>
              <a:gdLst>
                <a:gd name="T0" fmla="*/ 52 w 53"/>
                <a:gd name="T1" fmla="*/ 30 h 53"/>
                <a:gd name="T2" fmla="*/ 9 w 53"/>
                <a:gd name="T3" fmla="*/ 0 h 53"/>
                <a:gd name="T4" fmla="*/ 1 w 53"/>
                <a:gd name="T5" fmla="*/ 1 h 53"/>
                <a:gd name="T6" fmla="*/ 0 w 53"/>
                <a:gd name="T7" fmla="*/ 9 h 53"/>
                <a:gd name="T8" fmla="*/ 29 w 53"/>
                <a:gd name="T9" fmla="*/ 52 h 53"/>
                <a:gd name="T10" fmla="*/ 31 w 53"/>
                <a:gd name="T11" fmla="*/ 53 h 53"/>
                <a:gd name="T12" fmla="*/ 31 w 53"/>
                <a:gd name="T13" fmla="*/ 53 h 53"/>
                <a:gd name="T14" fmla="*/ 33 w 53"/>
                <a:gd name="T15" fmla="*/ 52 h 53"/>
                <a:gd name="T16" fmla="*/ 37 w 53"/>
                <a:gd name="T17" fmla="*/ 37 h 53"/>
                <a:gd name="T18" fmla="*/ 51 w 53"/>
                <a:gd name="T19" fmla="*/ 33 h 53"/>
                <a:gd name="T20" fmla="*/ 53 w 53"/>
                <a:gd name="T21" fmla="*/ 32 h 53"/>
                <a:gd name="T22" fmla="*/ 52 w 53"/>
                <a:gd name="T23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3" h="53">
                  <a:moveTo>
                    <a:pt x="52" y="3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30" y="53"/>
                    <a:pt x="30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2" y="53"/>
                    <a:pt x="33" y="52"/>
                    <a:pt x="33" y="52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33"/>
                    <a:pt x="53" y="32"/>
                    <a:pt x="53" y="32"/>
                  </a:cubicBezTo>
                  <a:cubicBezTo>
                    <a:pt x="53" y="31"/>
                    <a:pt x="53" y="30"/>
                    <a:pt x="5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4" name="Freeform 9">
              <a:extLst>
                <a:ext uri="{FF2B5EF4-FFF2-40B4-BE49-F238E27FC236}">
                  <a16:creationId xmlns="" xmlns:a16="http://schemas.microsoft.com/office/drawing/2014/main" id="{07EA776D-DFC1-489C-8999-5679B4D56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9063" y="3254376"/>
              <a:ext cx="222250" cy="228600"/>
            </a:xfrm>
            <a:custGeom>
              <a:avLst/>
              <a:gdLst>
                <a:gd name="T0" fmla="*/ 58 w 59"/>
                <a:gd name="T1" fmla="*/ 31 h 59"/>
                <a:gd name="T2" fmla="*/ 40 w 59"/>
                <a:gd name="T3" fmla="*/ 22 h 59"/>
                <a:gd name="T4" fmla="*/ 43 w 59"/>
                <a:gd name="T5" fmla="*/ 3 h 59"/>
                <a:gd name="T6" fmla="*/ 42 w 59"/>
                <a:gd name="T7" fmla="*/ 0 h 59"/>
                <a:gd name="T8" fmla="*/ 40 w 59"/>
                <a:gd name="T9" fmla="*/ 1 h 59"/>
                <a:gd name="T10" fmla="*/ 26 w 59"/>
                <a:gd name="T11" fmla="*/ 15 h 59"/>
                <a:gd name="T12" fmla="*/ 8 w 59"/>
                <a:gd name="T13" fmla="*/ 6 h 59"/>
                <a:gd name="T14" fmla="*/ 6 w 59"/>
                <a:gd name="T15" fmla="*/ 6 h 59"/>
                <a:gd name="T16" fmla="*/ 6 w 59"/>
                <a:gd name="T17" fmla="*/ 8 h 59"/>
                <a:gd name="T18" fmla="*/ 14 w 59"/>
                <a:gd name="T19" fmla="*/ 26 h 59"/>
                <a:gd name="T20" fmla="*/ 1 w 59"/>
                <a:gd name="T21" fmla="*/ 40 h 59"/>
                <a:gd name="T22" fmla="*/ 0 w 59"/>
                <a:gd name="T23" fmla="*/ 42 h 59"/>
                <a:gd name="T24" fmla="*/ 2 w 59"/>
                <a:gd name="T25" fmla="*/ 43 h 59"/>
                <a:gd name="T26" fmla="*/ 22 w 59"/>
                <a:gd name="T27" fmla="*/ 40 h 59"/>
                <a:gd name="T28" fmla="*/ 31 w 59"/>
                <a:gd name="T29" fmla="*/ 58 h 59"/>
                <a:gd name="T30" fmla="*/ 33 w 59"/>
                <a:gd name="T31" fmla="*/ 59 h 59"/>
                <a:gd name="T32" fmla="*/ 33 w 59"/>
                <a:gd name="T33" fmla="*/ 59 h 59"/>
                <a:gd name="T34" fmla="*/ 35 w 59"/>
                <a:gd name="T35" fmla="*/ 57 h 59"/>
                <a:gd name="T36" fmla="*/ 38 w 59"/>
                <a:gd name="T37" fmla="*/ 38 h 59"/>
                <a:gd name="T38" fmla="*/ 57 w 59"/>
                <a:gd name="T39" fmla="*/ 35 h 59"/>
                <a:gd name="T40" fmla="*/ 59 w 59"/>
                <a:gd name="T41" fmla="*/ 33 h 59"/>
                <a:gd name="T42" fmla="*/ 58 w 59"/>
                <a:gd name="T43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9" h="59">
                  <a:moveTo>
                    <a:pt x="58" y="31"/>
                  </a:moveTo>
                  <a:cubicBezTo>
                    <a:pt x="40" y="22"/>
                    <a:pt x="40" y="22"/>
                    <a:pt x="40" y="22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2"/>
                    <a:pt x="43" y="1"/>
                    <a:pt x="42" y="0"/>
                  </a:cubicBezTo>
                  <a:cubicBezTo>
                    <a:pt x="41" y="0"/>
                    <a:pt x="40" y="0"/>
                    <a:pt x="40" y="1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5"/>
                    <a:pt x="7" y="6"/>
                    <a:pt x="6" y="6"/>
                  </a:cubicBezTo>
                  <a:cubicBezTo>
                    <a:pt x="5" y="7"/>
                    <a:pt x="5" y="8"/>
                    <a:pt x="6" y="8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0"/>
                    <a:pt x="0" y="41"/>
                    <a:pt x="0" y="42"/>
                  </a:cubicBezTo>
                  <a:cubicBezTo>
                    <a:pt x="1" y="43"/>
                    <a:pt x="1" y="43"/>
                    <a:pt x="2" y="43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9"/>
                    <a:pt x="32" y="59"/>
                    <a:pt x="33" y="59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4" y="59"/>
                    <a:pt x="35" y="58"/>
                    <a:pt x="35" y="57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58" y="35"/>
                    <a:pt x="58" y="34"/>
                    <a:pt x="59" y="33"/>
                  </a:cubicBezTo>
                  <a:cubicBezTo>
                    <a:pt x="59" y="32"/>
                    <a:pt x="58" y="31"/>
                    <a:pt x="58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="" xmlns:a16="http://schemas.microsoft.com/office/drawing/2014/main" id="{9D52B317-CC3C-4570-9F27-75E2AA059337}"/>
              </a:ext>
            </a:extLst>
          </p:cNvPr>
          <p:cNvSpPr/>
          <p:nvPr/>
        </p:nvSpPr>
        <p:spPr>
          <a:xfrm>
            <a:off x="5698136" y="2152727"/>
            <a:ext cx="67180" cy="872167"/>
          </a:xfrm>
          <a:prstGeom prst="rect">
            <a:avLst/>
          </a:prstGeom>
          <a:solidFill>
            <a:srgbClr val="D63A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0" name="Rectangle 259">
            <a:extLst>
              <a:ext uri="{FF2B5EF4-FFF2-40B4-BE49-F238E27FC236}">
                <a16:creationId xmlns="" xmlns:a16="http://schemas.microsoft.com/office/drawing/2014/main" id="{D4C2A9B5-7610-4291-931A-896A6FF5840D}"/>
              </a:ext>
            </a:extLst>
          </p:cNvPr>
          <p:cNvSpPr/>
          <p:nvPr/>
        </p:nvSpPr>
        <p:spPr>
          <a:xfrm>
            <a:off x="5698130" y="3619132"/>
            <a:ext cx="67180" cy="8721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2" name="Rectangle 261">
            <a:extLst>
              <a:ext uri="{FF2B5EF4-FFF2-40B4-BE49-F238E27FC236}">
                <a16:creationId xmlns="" xmlns:a16="http://schemas.microsoft.com/office/drawing/2014/main" id="{E8119D2B-8CF0-4DE4-B529-4B92AE95F446}"/>
              </a:ext>
            </a:extLst>
          </p:cNvPr>
          <p:cNvSpPr/>
          <p:nvPr/>
        </p:nvSpPr>
        <p:spPr>
          <a:xfrm>
            <a:off x="5698130" y="5239130"/>
            <a:ext cx="67180" cy="8721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0" name="Group 329">
            <a:extLst>
              <a:ext uri="{FF2B5EF4-FFF2-40B4-BE49-F238E27FC236}">
                <a16:creationId xmlns="" xmlns:a16="http://schemas.microsoft.com/office/drawing/2014/main" id="{98C82C47-847A-48E0-A010-BBB3742BE36D}"/>
              </a:ext>
            </a:extLst>
          </p:cNvPr>
          <p:cNvGrpSpPr/>
          <p:nvPr/>
        </p:nvGrpSpPr>
        <p:grpSpPr>
          <a:xfrm>
            <a:off x="544127" y="466977"/>
            <a:ext cx="11103746" cy="5924047"/>
            <a:chOff x="544127" y="282919"/>
            <a:chExt cx="11103746" cy="5924047"/>
          </a:xfrm>
          <a:solidFill>
            <a:schemeClr val="accent3">
              <a:lumMod val="40000"/>
              <a:lumOff val="60000"/>
            </a:schemeClr>
          </a:solidFill>
        </p:grpSpPr>
        <p:grpSp>
          <p:nvGrpSpPr>
            <p:cNvPr id="331" name="Group 330">
              <a:extLst>
                <a:ext uri="{FF2B5EF4-FFF2-40B4-BE49-F238E27FC236}">
                  <a16:creationId xmlns="" xmlns:a16="http://schemas.microsoft.com/office/drawing/2014/main" id="{7EEC2A24-3F09-4001-A666-A9772E7E0BD4}"/>
                </a:ext>
              </a:extLst>
            </p:cNvPr>
            <p:cNvGrpSpPr/>
            <p:nvPr/>
          </p:nvGrpSpPr>
          <p:grpSpPr>
            <a:xfrm>
              <a:off x="544127" y="282919"/>
              <a:ext cx="11103746" cy="1914300"/>
              <a:chOff x="814298" y="3025483"/>
              <a:chExt cx="11103746" cy="1914300"/>
            </a:xfrm>
            <a:grpFill/>
          </p:grpSpPr>
          <p:sp>
            <p:nvSpPr>
              <p:cNvPr id="378" name="Oval 58">
                <a:extLst>
                  <a:ext uri="{FF2B5EF4-FFF2-40B4-BE49-F238E27FC236}">
                    <a16:creationId xmlns="" xmlns:a16="http://schemas.microsoft.com/office/drawing/2014/main" id="{3E5FE7ED-2D0A-4A7F-98FF-74D607303B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428" y="4608849"/>
                <a:ext cx="72644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Oval 59">
                <a:extLst>
                  <a:ext uri="{FF2B5EF4-FFF2-40B4-BE49-F238E27FC236}">
                    <a16:creationId xmlns="" xmlns:a16="http://schemas.microsoft.com/office/drawing/2014/main" id="{744C72AB-A2A8-46BD-8DF8-F530C90D9D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0332" y="4828126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Oval 60">
                <a:extLst>
                  <a:ext uri="{FF2B5EF4-FFF2-40B4-BE49-F238E27FC236}">
                    <a16:creationId xmlns="" xmlns:a16="http://schemas.microsoft.com/office/drawing/2014/main" id="{8E24C8C0-747C-49CE-82D0-3400BF0E39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5075" y="3921423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Oval 61">
                <a:extLst>
                  <a:ext uri="{FF2B5EF4-FFF2-40B4-BE49-F238E27FC236}">
                    <a16:creationId xmlns="" xmlns:a16="http://schemas.microsoft.com/office/drawing/2014/main" id="{05F7E92D-D2A7-437B-9B85-952E9F4875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4298" y="4182814"/>
                <a:ext cx="72644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Oval 62">
                <a:extLst>
                  <a:ext uri="{FF2B5EF4-FFF2-40B4-BE49-F238E27FC236}">
                    <a16:creationId xmlns="" xmlns:a16="http://schemas.microsoft.com/office/drawing/2014/main" id="{F51651E9-147E-40F1-A229-CE7E96EF0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9695" y="4214689"/>
                <a:ext cx="7533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Oval 63">
                <a:extLst>
                  <a:ext uri="{FF2B5EF4-FFF2-40B4-BE49-F238E27FC236}">
                    <a16:creationId xmlns="" xmlns:a16="http://schemas.microsoft.com/office/drawing/2014/main" id="{FBD752F6-F217-41B5-9A27-CF55396735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7805" y="4007520"/>
                <a:ext cx="76680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Oval 64">
                <a:extLst>
                  <a:ext uri="{FF2B5EF4-FFF2-40B4-BE49-F238E27FC236}">
                    <a16:creationId xmlns="" xmlns:a16="http://schemas.microsoft.com/office/drawing/2014/main" id="{8D704A7F-51AA-40C6-8A0B-9AA8FAFE47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4694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Oval 65">
                <a:extLst>
                  <a:ext uri="{FF2B5EF4-FFF2-40B4-BE49-F238E27FC236}">
                    <a16:creationId xmlns="" xmlns:a16="http://schemas.microsoft.com/office/drawing/2014/main" id="{BCD21634-A69F-49AA-9399-BA065E5938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515" y="339677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Oval 66">
                <a:extLst>
                  <a:ext uri="{FF2B5EF4-FFF2-40B4-BE49-F238E27FC236}">
                    <a16:creationId xmlns="" xmlns:a16="http://schemas.microsoft.com/office/drawing/2014/main" id="{8EAA5FE1-B5BA-4CFE-AA2A-275505C7B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9835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Oval 67">
                <a:extLst>
                  <a:ext uri="{FF2B5EF4-FFF2-40B4-BE49-F238E27FC236}">
                    <a16:creationId xmlns="" xmlns:a16="http://schemas.microsoft.com/office/drawing/2014/main" id="{A560E825-E45B-48E8-9F9E-BF18D55BF4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9625" y="4272535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Oval 68">
                <a:extLst>
                  <a:ext uri="{FF2B5EF4-FFF2-40B4-BE49-F238E27FC236}">
                    <a16:creationId xmlns="" xmlns:a16="http://schemas.microsoft.com/office/drawing/2014/main" id="{62440F27-51FC-49D3-BE7C-F7A4A0E8B9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64818" y="381649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Oval 69">
                <a:extLst>
                  <a:ext uri="{FF2B5EF4-FFF2-40B4-BE49-F238E27FC236}">
                    <a16:creationId xmlns="" xmlns:a16="http://schemas.microsoft.com/office/drawing/2014/main" id="{870ABFA1-788C-459E-9971-738B113625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45400" y="421468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Oval 70">
                <a:extLst>
                  <a:ext uri="{FF2B5EF4-FFF2-40B4-BE49-F238E27FC236}">
                    <a16:creationId xmlns="" xmlns:a16="http://schemas.microsoft.com/office/drawing/2014/main" id="{A6BBB49C-4491-4A42-90F9-452BEFEFE9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2967" y="3603943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Oval 71">
                <a:extLst>
                  <a:ext uri="{FF2B5EF4-FFF2-40B4-BE49-F238E27FC236}">
                    <a16:creationId xmlns="" xmlns:a16="http://schemas.microsoft.com/office/drawing/2014/main" id="{3BD19E50-7380-4D0D-BE6D-484D5C7F5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7618" y="486713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Oval 72">
                <a:extLst>
                  <a:ext uri="{FF2B5EF4-FFF2-40B4-BE49-F238E27FC236}">
                    <a16:creationId xmlns="" xmlns:a16="http://schemas.microsoft.com/office/drawing/2014/main" id="{485AAC05-6BD8-47D3-8EE4-635905B464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6685" y="464382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Oval 73">
                <a:extLst>
                  <a:ext uri="{FF2B5EF4-FFF2-40B4-BE49-F238E27FC236}">
                    <a16:creationId xmlns="" xmlns:a16="http://schemas.microsoft.com/office/drawing/2014/main" id="{1C48824A-CBDD-4BC7-B0F5-9B60C9714F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808" y="3025483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Oval 74">
                <a:extLst>
                  <a:ext uri="{FF2B5EF4-FFF2-40B4-BE49-F238E27FC236}">
                    <a16:creationId xmlns="" xmlns:a16="http://schemas.microsoft.com/office/drawing/2014/main" id="{31FE5F08-2A6E-49DB-B928-F81ED17FC2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7338" y="3531299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Oval 75">
                <a:extLst>
                  <a:ext uri="{FF2B5EF4-FFF2-40B4-BE49-F238E27FC236}">
                    <a16:creationId xmlns="" xmlns:a16="http://schemas.microsoft.com/office/drawing/2014/main" id="{8DD72AA3-7614-47A4-9664-52AE8F50C4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5425" y="4214689"/>
                <a:ext cx="76680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Oval 76">
                <a:extLst>
                  <a:ext uri="{FF2B5EF4-FFF2-40B4-BE49-F238E27FC236}">
                    <a16:creationId xmlns="" xmlns:a16="http://schemas.microsoft.com/office/drawing/2014/main" id="{E01E7CDF-D28C-41B2-A70D-3E9220A6A1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49444" y="3846089"/>
                <a:ext cx="73989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Oval 77">
                <a:extLst>
                  <a:ext uri="{FF2B5EF4-FFF2-40B4-BE49-F238E27FC236}">
                    <a16:creationId xmlns="" xmlns:a16="http://schemas.microsoft.com/office/drawing/2014/main" id="{9434C99C-3FCD-4199-8A65-DB0DA11B6C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8807" y="4421859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Oval 78">
                <a:extLst>
                  <a:ext uri="{FF2B5EF4-FFF2-40B4-BE49-F238E27FC236}">
                    <a16:creationId xmlns="" xmlns:a16="http://schemas.microsoft.com/office/drawing/2014/main" id="{984204A5-ACB8-447D-ADE6-2BD28ABB89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2244" y="411917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Oval 79">
                <a:extLst>
                  <a:ext uri="{FF2B5EF4-FFF2-40B4-BE49-F238E27FC236}">
                    <a16:creationId xmlns="" xmlns:a16="http://schemas.microsoft.com/office/drawing/2014/main" id="{A42F464F-EDEC-4DE3-99A8-5C4AF9C1E9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0191" y="3883756"/>
                <a:ext cx="73989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2" name="Group 331">
              <a:extLst>
                <a:ext uri="{FF2B5EF4-FFF2-40B4-BE49-F238E27FC236}">
                  <a16:creationId xmlns="" xmlns:a16="http://schemas.microsoft.com/office/drawing/2014/main" id="{D5FF0F4C-CEA0-48A1-8B0A-5481059ECA39}"/>
                </a:ext>
              </a:extLst>
            </p:cNvPr>
            <p:cNvGrpSpPr/>
            <p:nvPr/>
          </p:nvGrpSpPr>
          <p:grpSpPr>
            <a:xfrm>
              <a:off x="544127" y="2287792"/>
              <a:ext cx="11103746" cy="1914300"/>
              <a:chOff x="814298" y="3025483"/>
              <a:chExt cx="11103746" cy="1914300"/>
            </a:xfrm>
            <a:grpFill/>
          </p:grpSpPr>
          <p:sp>
            <p:nvSpPr>
              <p:cNvPr id="356" name="Oval 58">
                <a:extLst>
                  <a:ext uri="{FF2B5EF4-FFF2-40B4-BE49-F238E27FC236}">
                    <a16:creationId xmlns="" xmlns:a16="http://schemas.microsoft.com/office/drawing/2014/main" id="{37B2A23C-7E4A-4262-B527-D8A6BF4EB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428" y="4608849"/>
                <a:ext cx="72644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Oval 59">
                <a:extLst>
                  <a:ext uri="{FF2B5EF4-FFF2-40B4-BE49-F238E27FC236}">
                    <a16:creationId xmlns="" xmlns:a16="http://schemas.microsoft.com/office/drawing/2014/main" id="{B2F5631A-CB41-49C4-B3A9-1AE10800FE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0332" y="4828126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Oval 60">
                <a:extLst>
                  <a:ext uri="{FF2B5EF4-FFF2-40B4-BE49-F238E27FC236}">
                    <a16:creationId xmlns="" xmlns:a16="http://schemas.microsoft.com/office/drawing/2014/main" id="{A2F59B61-7194-4CFA-81EB-50CF98E8F6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5075" y="3921423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Oval 61">
                <a:extLst>
                  <a:ext uri="{FF2B5EF4-FFF2-40B4-BE49-F238E27FC236}">
                    <a16:creationId xmlns="" xmlns:a16="http://schemas.microsoft.com/office/drawing/2014/main" id="{1B522CB5-90C1-472F-B265-EB555DADD5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4298" y="4182814"/>
                <a:ext cx="72644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Oval 62">
                <a:extLst>
                  <a:ext uri="{FF2B5EF4-FFF2-40B4-BE49-F238E27FC236}">
                    <a16:creationId xmlns="" xmlns:a16="http://schemas.microsoft.com/office/drawing/2014/main" id="{39C59ECB-D905-48D2-8E6D-88D2262FDB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9695" y="4214689"/>
                <a:ext cx="7533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Oval 63">
                <a:extLst>
                  <a:ext uri="{FF2B5EF4-FFF2-40B4-BE49-F238E27FC236}">
                    <a16:creationId xmlns="" xmlns:a16="http://schemas.microsoft.com/office/drawing/2014/main" id="{E676246A-E668-4974-A5EB-8E11B3DED4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7805" y="4007520"/>
                <a:ext cx="76680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Oval 64">
                <a:extLst>
                  <a:ext uri="{FF2B5EF4-FFF2-40B4-BE49-F238E27FC236}">
                    <a16:creationId xmlns="" xmlns:a16="http://schemas.microsoft.com/office/drawing/2014/main" id="{CECAC02B-7269-41BE-AAB4-088B176778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4694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Oval 65">
                <a:extLst>
                  <a:ext uri="{FF2B5EF4-FFF2-40B4-BE49-F238E27FC236}">
                    <a16:creationId xmlns="" xmlns:a16="http://schemas.microsoft.com/office/drawing/2014/main" id="{86B2358A-2DDD-4D7C-B31A-43DA576C33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515" y="339677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Oval 66">
                <a:extLst>
                  <a:ext uri="{FF2B5EF4-FFF2-40B4-BE49-F238E27FC236}">
                    <a16:creationId xmlns="" xmlns:a16="http://schemas.microsoft.com/office/drawing/2014/main" id="{7CCC3DCD-DD99-42ED-B564-7CC3F31282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9835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Oval 67">
                <a:extLst>
                  <a:ext uri="{FF2B5EF4-FFF2-40B4-BE49-F238E27FC236}">
                    <a16:creationId xmlns="" xmlns:a16="http://schemas.microsoft.com/office/drawing/2014/main" id="{BD8D65EF-E7DE-4BDF-972B-11A5AD2642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9625" y="4272535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Oval 68">
                <a:extLst>
                  <a:ext uri="{FF2B5EF4-FFF2-40B4-BE49-F238E27FC236}">
                    <a16:creationId xmlns="" xmlns:a16="http://schemas.microsoft.com/office/drawing/2014/main" id="{E90DC25C-9758-4881-8F17-EA9708BCAB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64818" y="381649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Oval 69">
                <a:extLst>
                  <a:ext uri="{FF2B5EF4-FFF2-40B4-BE49-F238E27FC236}">
                    <a16:creationId xmlns="" xmlns:a16="http://schemas.microsoft.com/office/drawing/2014/main" id="{4DF7B717-E287-49F5-8EDC-270547E02B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45400" y="421468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Oval 70">
                <a:extLst>
                  <a:ext uri="{FF2B5EF4-FFF2-40B4-BE49-F238E27FC236}">
                    <a16:creationId xmlns="" xmlns:a16="http://schemas.microsoft.com/office/drawing/2014/main" id="{782B3D62-6A98-4FDC-A951-24BC8D5D24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2967" y="3603943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Oval 71">
                <a:extLst>
                  <a:ext uri="{FF2B5EF4-FFF2-40B4-BE49-F238E27FC236}">
                    <a16:creationId xmlns="" xmlns:a16="http://schemas.microsoft.com/office/drawing/2014/main" id="{14AAE281-8E49-4F21-BA52-14DD352543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7618" y="486713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Oval 72">
                <a:extLst>
                  <a:ext uri="{FF2B5EF4-FFF2-40B4-BE49-F238E27FC236}">
                    <a16:creationId xmlns="" xmlns:a16="http://schemas.microsoft.com/office/drawing/2014/main" id="{3F39DB63-35A7-4669-9809-CD46D79E3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6685" y="464382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Oval 73">
                <a:extLst>
                  <a:ext uri="{FF2B5EF4-FFF2-40B4-BE49-F238E27FC236}">
                    <a16:creationId xmlns="" xmlns:a16="http://schemas.microsoft.com/office/drawing/2014/main" id="{5B1EC70C-BFFC-4345-8128-451B49688A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808" y="3025483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Oval 74">
                <a:extLst>
                  <a:ext uri="{FF2B5EF4-FFF2-40B4-BE49-F238E27FC236}">
                    <a16:creationId xmlns="" xmlns:a16="http://schemas.microsoft.com/office/drawing/2014/main" id="{863F97EB-EED4-42D8-AC70-17BF4EB6E3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7338" y="3531299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Oval 75">
                <a:extLst>
                  <a:ext uri="{FF2B5EF4-FFF2-40B4-BE49-F238E27FC236}">
                    <a16:creationId xmlns="" xmlns:a16="http://schemas.microsoft.com/office/drawing/2014/main" id="{4A3C4F72-C1F5-4371-B1E8-4059DC656E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5425" y="4214689"/>
                <a:ext cx="76680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Oval 76">
                <a:extLst>
                  <a:ext uri="{FF2B5EF4-FFF2-40B4-BE49-F238E27FC236}">
                    <a16:creationId xmlns="" xmlns:a16="http://schemas.microsoft.com/office/drawing/2014/main" id="{C42B89DB-D5D5-4720-BF71-FBC9C1DFE4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49444" y="3846089"/>
                <a:ext cx="73989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Oval 77">
                <a:extLst>
                  <a:ext uri="{FF2B5EF4-FFF2-40B4-BE49-F238E27FC236}">
                    <a16:creationId xmlns="" xmlns:a16="http://schemas.microsoft.com/office/drawing/2014/main" id="{043B4D3F-BF3C-43A1-914C-9E5C559592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8807" y="4421859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Oval 78">
                <a:extLst>
                  <a:ext uri="{FF2B5EF4-FFF2-40B4-BE49-F238E27FC236}">
                    <a16:creationId xmlns="" xmlns:a16="http://schemas.microsoft.com/office/drawing/2014/main" id="{FDF582B5-EB22-4091-9DEE-B38BC0DD55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2244" y="411917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Oval 79">
                <a:extLst>
                  <a:ext uri="{FF2B5EF4-FFF2-40B4-BE49-F238E27FC236}">
                    <a16:creationId xmlns="" xmlns:a16="http://schemas.microsoft.com/office/drawing/2014/main" id="{CC0D233D-178E-4379-A17E-C0E7E1A34C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0191" y="3883756"/>
                <a:ext cx="73989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3" name="Group 332">
              <a:extLst>
                <a:ext uri="{FF2B5EF4-FFF2-40B4-BE49-F238E27FC236}">
                  <a16:creationId xmlns="" xmlns:a16="http://schemas.microsoft.com/office/drawing/2014/main" id="{46AE09A3-79A3-4CF4-96F5-0BC3B898E98C}"/>
                </a:ext>
              </a:extLst>
            </p:cNvPr>
            <p:cNvGrpSpPr/>
            <p:nvPr/>
          </p:nvGrpSpPr>
          <p:grpSpPr>
            <a:xfrm>
              <a:off x="544127" y="4292666"/>
              <a:ext cx="11103746" cy="1914300"/>
              <a:chOff x="814298" y="3025483"/>
              <a:chExt cx="11103746" cy="1914300"/>
            </a:xfrm>
            <a:grpFill/>
          </p:grpSpPr>
          <p:sp>
            <p:nvSpPr>
              <p:cNvPr id="334" name="Oval 58">
                <a:extLst>
                  <a:ext uri="{FF2B5EF4-FFF2-40B4-BE49-F238E27FC236}">
                    <a16:creationId xmlns="" xmlns:a16="http://schemas.microsoft.com/office/drawing/2014/main" id="{6ED4D78A-E4AE-4A2A-AA07-D2A83480F0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428" y="4608849"/>
                <a:ext cx="72644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Oval 59">
                <a:extLst>
                  <a:ext uri="{FF2B5EF4-FFF2-40B4-BE49-F238E27FC236}">
                    <a16:creationId xmlns="" xmlns:a16="http://schemas.microsoft.com/office/drawing/2014/main" id="{8C1B7A8E-E8D3-4F41-9A0A-5235A112E3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0332" y="4828126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Oval 60">
                <a:extLst>
                  <a:ext uri="{FF2B5EF4-FFF2-40B4-BE49-F238E27FC236}">
                    <a16:creationId xmlns="" xmlns:a16="http://schemas.microsoft.com/office/drawing/2014/main" id="{BDD10440-AC78-4D29-8CC2-82912F3DDB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5075" y="3921423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Oval 61">
                <a:extLst>
                  <a:ext uri="{FF2B5EF4-FFF2-40B4-BE49-F238E27FC236}">
                    <a16:creationId xmlns="" xmlns:a16="http://schemas.microsoft.com/office/drawing/2014/main" id="{EE46E904-CC5B-4696-B8E6-0E63DBE045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4298" y="4182814"/>
                <a:ext cx="72644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Oval 62">
                <a:extLst>
                  <a:ext uri="{FF2B5EF4-FFF2-40B4-BE49-F238E27FC236}">
                    <a16:creationId xmlns="" xmlns:a16="http://schemas.microsoft.com/office/drawing/2014/main" id="{28D2ADBB-7AC7-4248-B1F4-3056622FA3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9695" y="4214689"/>
                <a:ext cx="7533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Oval 63">
                <a:extLst>
                  <a:ext uri="{FF2B5EF4-FFF2-40B4-BE49-F238E27FC236}">
                    <a16:creationId xmlns="" xmlns:a16="http://schemas.microsoft.com/office/drawing/2014/main" id="{F8DC5BBE-8A4B-414E-88BB-EB8AC4A13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7805" y="4007520"/>
                <a:ext cx="76680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Oval 64">
                <a:extLst>
                  <a:ext uri="{FF2B5EF4-FFF2-40B4-BE49-F238E27FC236}">
                    <a16:creationId xmlns="" xmlns:a16="http://schemas.microsoft.com/office/drawing/2014/main" id="{1F0EE553-F03F-4B9B-91BC-D0B28B772B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4694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Oval 65">
                <a:extLst>
                  <a:ext uri="{FF2B5EF4-FFF2-40B4-BE49-F238E27FC236}">
                    <a16:creationId xmlns="" xmlns:a16="http://schemas.microsoft.com/office/drawing/2014/main" id="{524E2014-A107-4AD8-9A28-1E17EBE643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515" y="339677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Oval 66">
                <a:extLst>
                  <a:ext uri="{FF2B5EF4-FFF2-40B4-BE49-F238E27FC236}">
                    <a16:creationId xmlns="" xmlns:a16="http://schemas.microsoft.com/office/drawing/2014/main" id="{0E61AA6C-784A-425E-86EB-977DCDF505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9835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Oval 67">
                <a:extLst>
                  <a:ext uri="{FF2B5EF4-FFF2-40B4-BE49-F238E27FC236}">
                    <a16:creationId xmlns="" xmlns:a16="http://schemas.microsoft.com/office/drawing/2014/main" id="{071E7611-6D0F-4D86-9D72-F8725B1740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9625" y="4272535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Oval 68">
                <a:extLst>
                  <a:ext uri="{FF2B5EF4-FFF2-40B4-BE49-F238E27FC236}">
                    <a16:creationId xmlns="" xmlns:a16="http://schemas.microsoft.com/office/drawing/2014/main" id="{8A55FF1E-B799-4529-AB31-3F4E760035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64818" y="381649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Oval 69">
                <a:extLst>
                  <a:ext uri="{FF2B5EF4-FFF2-40B4-BE49-F238E27FC236}">
                    <a16:creationId xmlns="" xmlns:a16="http://schemas.microsoft.com/office/drawing/2014/main" id="{EE601973-DAF3-4776-927D-4FE6C46618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45400" y="421468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Oval 70">
                <a:extLst>
                  <a:ext uri="{FF2B5EF4-FFF2-40B4-BE49-F238E27FC236}">
                    <a16:creationId xmlns="" xmlns:a16="http://schemas.microsoft.com/office/drawing/2014/main" id="{2E78D590-F6E7-41C8-BD88-733E9B203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2967" y="3603943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Oval 71">
                <a:extLst>
                  <a:ext uri="{FF2B5EF4-FFF2-40B4-BE49-F238E27FC236}">
                    <a16:creationId xmlns="" xmlns:a16="http://schemas.microsoft.com/office/drawing/2014/main" id="{7DD18819-335E-4831-AFF4-617A220BE3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7618" y="486713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Oval 72">
                <a:extLst>
                  <a:ext uri="{FF2B5EF4-FFF2-40B4-BE49-F238E27FC236}">
                    <a16:creationId xmlns="" xmlns:a16="http://schemas.microsoft.com/office/drawing/2014/main" id="{4E98C501-A8DB-4FFF-87E1-EEFCE686BA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6685" y="464382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Oval 73">
                <a:extLst>
                  <a:ext uri="{FF2B5EF4-FFF2-40B4-BE49-F238E27FC236}">
                    <a16:creationId xmlns="" xmlns:a16="http://schemas.microsoft.com/office/drawing/2014/main" id="{633A82ED-78F1-477D-BDEC-A79F186A77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808" y="3025483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Oval 74">
                <a:extLst>
                  <a:ext uri="{FF2B5EF4-FFF2-40B4-BE49-F238E27FC236}">
                    <a16:creationId xmlns="" xmlns:a16="http://schemas.microsoft.com/office/drawing/2014/main" id="{77457420-4357-4EA1-8399-7B213A716C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7338" y="3531299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Oval 75">
                <a:extLst>
                  <a:ext uri="{FF2B5EF4-FFF2-40B4-BE49-F238E27FC236}">
                    <a16:creationId xmlns="" xmlns:a16="http://schemas.microsoft.com/office/drawing/2014/main" id="{C45FE86D-C0E2-4F08-9B1D-1C08E24866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5425" y="4214689"/>
                <a:ext cx="76680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Oval 76">
                <a:extLst>
                  <a:ext uri="{FF2B5EF4-FFF2-40B4-BE49-F238E27FC236}">
                    <a16:creationId xmlns="" xmlns:a16="http://schemas.microsoft.com/office/drawing/2014/main" id="{484A3009-A9F9-4697-B415-BAAA6C574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49444" y="3846089"/>
                <a:ext cx="73989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Oval 77">
                <a:extLst>
                  <a:ext uri="{FF2B5EF4-FFF2-40B4-BE49-F238E27FC236}">
                    <a16:creationId xmlns="" xmlns:a16="http://schemas.microsoft.com/office/drawing/2014/main" id="{236C25BE-CAA3-41CB-B30B-861AE0BFDF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8807" y="4421859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Oval 78">
                <a:extLst>
                  <a:ext uri="{FF2B5EF4-FFF2-40B4-BE49-F238E27FC236}">
                    <a16:creationId xmlns="" xmlns:a16="http://schemas.microsoft.com/office/drawing/2014/main" id="{5C38EC93-573F-4A0B-B1B8-A8AE0733A6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2244" y="411917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Oval 79">
                <a:extLst>
                  <a:ext uri="{FF2B5EF4-FFF2-40B4-BE49-F238E27FC236}">
                    <a16:creationId xmlns="" xmlns:a16="http://schemas.microsoft.com/office/drawing/2014/main" id="{C8421B68-0EBD-45A0-9976-7058852388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0191" y="3883756"/>
                <a:ext cx="73989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11" name="Freeform: Shape 110">
            <a:extLst>
              <a:ext uri="{FF2B5EF4-FFF2-40B4-BE49-F238E27FC236}">
                <a16:creationId xmlns="" xmlns:a16="http://schemas.microsoft.com/office/drawing/2014/main" id="{08382CE4-A56C-467A-BAB0-C9DA343F8500}"/>
              </a:ext>
            </a:extLst>
          </p:cNvPr>
          <p:cNvSpPr/>
          <p:nvPr/>
        </p:nvSpPr>
        <p:spPr>
          <a:xfrm>
            <a:off x="3275988" y="28429"/>
            <a:ext cx="6362051" cy="965894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TextBox 79">
            <a:extLst>
              <a:ext uri="{FF2B5EF4-FFF2-40B4-BE49-F238E27FC236}">
                <a16:creationId xmlns="" xmlns:a16="http://schemas.microsoft.com/office/drawing/2014/main" id="{EF766FDC-B771-4763-B75A-CBE041D80EA0}"/>
              </a:ext>
            </a:extLst>
          </p:cNvPr>
          <p:cNvSpPr txBox="1"/>
          <p:nvPr/>
        </p:nvSpPr>
        <p:spPr>
          <a:xfrm>
            <a:off x="-584996" y="873898"/>
            <a:ext cx="5127871" cy="58477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fr-FR" sz="3800" b="1" dirty="0" smtClean="0">
                <a:solidFill>
                  <a:srgbClr val="D63A31"/>
                </a:solidFill>
                <a:latin typeface="+mj-lt"/>
              </a:rPr>
              <a:t>Cont</a:t>
            </a:r>
            <a:r>
              <a:rPr lang="fr-FR" sz="3800" b="1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raintes</a:t>
            </a:r>
            <a:endParaRPr lang="id-ID" sz="3800" b="1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5966262" y="2343308"/>
            <a:ext cx="40058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tilisation du langage C# .NET</a:t>
            </a:r>
            <a:endParaRPr lang="fr-FR" sz="2000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7" name="Nuage 106"/>
          <p:cNvSpPr/>
          <p:nvPr/>
        </p:nvSpPr>
        <p:spPr>
          <a:xfrm>
            <a:off x="11023718" y="6148200"/>
            <a:ext cx="624943" cy="438760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>
                <a:solidFill>
                  <a:schemeClr val="tx2"/>
                </a:solidFill>
                <a:latin typeface="Gabriola" panose="04040605051002020D02" pitchFamily="82" charset="0"/>
              </a:rPr>
              <a:t>6</a:t>
            </a:r>
          </a:p>
        </p:txBody>
      </p:sp>
      <p:sp>
        <p:nvSpPr>
          <p:cNvPr id="108" name="ZoneTexte 107"/>
          <p:cNvSpPr txBox="1"/>
          <p:nvPr/>
        </p:nvSpPr>
        <p:spPr>
          <a:xfrm>
            <a:off x="5962671" y="3191258"/>
            <a:ext cx="40058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tilisation de SQL Serveur</a:t>
            </a:r>
            <a:endParaRPr lang="fr-FR" sz="2000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9" name="ZoneTexte 108"/>
          <p:cNvSpPr txBox="1"/>
          <p:nvPr/>
        </p:nvSpPr>
        <p:spPr>
          <a:xfrm>
            <a:off x="5926095" y="3995989"/>
            <a:ext cx="40058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tilisation de </a:t>
            </a:r>
            <a:r>
              <a:rPr lang="fr-FR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ithub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et TDD</a:t>
            </a:r>
            <a:endParaRPr lang="fr-FR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0" name="ZoneTexte 109"/>
          <p:cNvSpPr txBox="1"/>
          <p:nvPr/>
        </p:nvSpPr>
        <p:spPr>
          <a:xfrm>
            <a:off x="5944383" y="4636069"/>
            <a:ext cx="40058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tili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ation des sockets</a:t>
            </a:r>
            <a:endParaRPr lang="fr-FR" sz="2000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2" name="ZoneTexte 111"/>
          <p:cNvSpPr txBox="1"/>
          <p:nvPr/>
        </p:nvSpPr>
        <p:spPr>
          <a:xfrm>
            <a:off x="5962671" y="5385877"/>
            <a:ext cx="40058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tilisation du DP MVC</a:t>
            </a:r>
            <a:endParaRPr lang="fr-FR" sz="2000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5" name="TextBox 52">
            <a:extLst>
              <a:ext uri="{FF2B5EF4-FFF2-40B4-BE49-F238E27FC236}">
                <a16:creationId xmlns="" xmlns:a16="http://schemas.microsoft.com/office/drawing/2014/main" id="{B0521F56-07AC-43A5-A8B8-E5AA2009C0A4}"/>
              </a:ext>
            </a:extLst>
          </p:cNvPr>
          <p:cNvSpPr txBox="1"/>
          <p:nvPr/>
        </p:nvSpPr>
        <p:spPr>
          <a:xfrm>
            <a:off x="4204136" y="300019"/>
            <a:ext cx="4650940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Présentation du </a:t>
            </a: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p</a:t>
            </a: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ojet 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  <a:p>
            <a:pPr algn="ctr">
              <a:buClr>
                <a:schemeClr val="accent2"/>
              </a:buClr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16" name="Straight Connector 235">
            <a:extLst>
              <a:ext uri="{FF2B5EF4-FFF2-40B4-BE49-F238E27FC236}">
                <a16:creationId xmlns="" xmlns:a16="http://schemas.microsoft.com/office/drawing/2014/main" id="{7CAA804B-F70E-4EBD-A48C-EAD8A7C82985}"/>
              </a:ext>
            </a:extLst>
          </p:cNvPr>
          <p:cNvCxnSpPr/>
          <p:nvPr/>
        </p:nvCxnSpPr>
        <p:spPr>
          <a:xfrm>
            <a:off x="446314" y="1474877"/>
            <a:ext cx="2983379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201303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2" grpId="0"/>
      <p:bldP spid="108" grpId="0"/>
      <p:bldP spid="109" grpId="0"/>
      <p:bldP spid="110" grpId="0"/>
      <p:bldP spid="1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="" xmlns:a16="http://schemas.microsoft.com/office/drawing/2014/main" id="{ED5F9518-CD35-4890-A84B-CD91423FA53B}"/>
              </a:ext>
            </a:extLst>
          </p:cNvPr>
          <p:cNvGrpSpPr/>
          <p:nvPr/>
        </p:nvGrpSpPr>
        <p:grpSpPr>
          <a:xfrm>
            <a:off x="9016531" y="1"/>
            <a:ext cx="3054015" cy="5055184"/>
            <a:chOff x="348944" y="-1192559"/>
            <a:chExt cx="5214679" cy="7038846"/>
          </a:xfrm>
        </p:grpSpPr>
        <p:sp>
          <p:nvSpPr>
            <p:cNvPr id="38" name="Rectangle 37">
              <a:extLst>
                <a:ext uri="{FF2B5EF4-FFF2-40B4-BE49-F238E27FC236}">
                  <a16:creationId xmlns="" xmlns:a16="http://schemas.microsoft.com/office/drawing/2014/main" id="{94F05CF3-BB7B-4AB0-B104-4D438AB9652F}"/>
                </a:ext>
              </a:extLst>
            </p:cNvPr>
            <p:cNvSpPr/>
            <p:nvPr/>
          </p:nvSpPr>
          <p:spPr>
            <a:xfrm>
              <a:off x="1877054" y="-1192559"/>
              <a:ext cx="182673" cy="346218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="" xmlns:a16="http://schemas.microsoft.com/office/drawing/2014/main" id="{99B50A13-F887-4E6B-8D69-C0B2A280E978}"/>
                </a:ext>
              </a:extLst>
            </p:cNvPr>
            <p:cNvSpPr/>
            <p:nvPr/>
          </p:nvSpPr>
          <p:spPr>
            <a:xfrm>
              <a:off x="4401269" y="-1192559"/>
              <a:ext cx="182673" cy="346218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5" name="Graphic 34">
              <a:extLst>
                <a:ext uri="{FF2B5EF4-FFF2-40B4-BE49-F238E27FC236}">
                  <a16:creationId xmlns="" xmlns:a16="http://schemas.microsoft.com/office/drawing/2014/main" id="{232002BB-AD88-4D12-B607-99FC00B26A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48944" y="1853132"/>
              <a:ext cx="3238893" cy="3993155"/>
            </a:xfrm>
            <a:prstGeom prst="rect">
              <a:avLst/>
            </a:prstGeom>
          </p:spPr>
        </p:pic>
        <p:pic>
          <p:nvPicPr>
            <p:cNvPr id="37" name="Graphic 36">
              <a:extLst>
                <a:ext uri="{FF2B5EF4-FFF2-40B4-BE49-F238E27FC236}">
                  <a16:creationId xmlns="" xmlns:a16="http://schemas.microsoft.com/office/drawing/2014/main" id="{324E2088-9692-415E-A4B7-C595B3372E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10451" y="1357246"/>
              <a:ext cx="2153172" cy="2653910"/>
            </a:xfrm>
            <a:prstGeom prst="rect">
              <a:avLst/>
            </a:prstGeom>
          </p:spPr>
        </p:pic>
      </p:grpSp>
      <p:grpSp>
        <p:nvGrpSpPr>
          <p:cNvPr id="330" name="Group 329">
            <a:extLst>
              <a:ext uri="{FF2B5EF4-FFF2-40B4-BE49-F238E27FC236}">
                <a16:creationId xmlns="" xmlns:a16="http://schemas.microsoft.com/office/drawing/2014/main" id="{98C82C47-847A-48E0-A010-BBB3742BE36D}"/>
              </a:ext>
            </a:extLst>
          </p:cNvPr>
          <p:cNvGrpSpPr/>
          <p:nvPr/>
        </p:nvGrpSpPr>
        <p:grpSpPr>
          <a:xfrm>
            <a:off x="544127" y="466977"/>
            <a:ext cx="11103746" cy="5924047"/>
            <a:chOff x="544127" y="282919"/>
            <a:chExt cx="11103746" cy="5924047"/>
          </a:xfrm>
          <a:solidFill>
            <a:schemeClr val="accent3">
              <a:lumMod val="40000"/>
              <a:lumOff val="60000"/>
            </a:schemeClr>
          </a:solidFill>
        </p:grpSpPr>
        <p:grpSp>
          <p:nvGrpSpPr>
            <p:cNvPr id="331" name="Group 330">
              <a:extLst>
                <a:ext uri="{FF2B5EF4-FFF2-40B4-BE49-F238E27FC236}">
                  <a16:creationId xmlns="" xmlns:a16="http://schemas.microsoft.com/office/drawing/2014/main" id="{7EEC2A24-3F09-4001-A666-A9772E7E0BD4}"/>
                </a:ext>
              </a:extLst>
            </p:cNvPr>
            <p:cNvGrpSpPr/>
            <p:nvPr/>
          </p:nvGrpSpPr>
          <p:grpSpPr>
            <a:xfrm>
              <a:off x="544127" y="282919"/>
              <a:ext cx="11103746" cy="1914300"/>
              <a:chOff x="814298" y="3025483"/>
              <a:chExt cx="11103746" cy="1914300"/>
            </a:xfrm>
            <a:grpFill/>
          </p:grpSpPr>
          <p:sp>
            <p:nvSpPr>
              <p:cNvPr id="378" name="Oval 58">
                <a:extLst>
                  <a:ext uri="{FF2B5EF4-FFF2-40B4-BE49-F238E27FC236}">
                    <a16:creationId xmlns="" xmlns:a16="http://schemas.microsoft.com/office/drawing/2014/main" id="{3E5FE7ED-2D0A-4A7F-98FF-74D607303B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428" y="4608849"/>
                <a:ext cx="72644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Oval 59">
                <a:extLst>
                  <a:ext uri="{FF2B5EF4-FFF2-40B4-BE49-F238E27FC236}">
                    <a16:creationId xmlns="" xmlns:a16="http://schemas.microsoft.com/office/drawing/2014/main" id="{744C72AB-A2A8-46BD-8DF8-F530C90D9D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0332" y="4828126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Oval 60">
                <a:extLst>
                  <a:ext uri="{FF2B5EF4-FFF2-40B4-BE49-F238E27FC236}">
                    <a16:creationId xmlns="" xmlns:a16="http://schemas.microsoft.com/office/drawing/2014/main" id="{8E24C8C0-747C-49CE-82D0-3400BF0E39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5075" y="3921423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Oval 61">
                <a:extLst>
                  <a:ext uri="{FF2B5EF4-FFF2-40B4-BE49-F238E27FC236}">
                    <a16:creationId xmlns="" xmlns:a16="http://schemas.microsoft.com/office/drawing/2014/main" id="{05F7E92D-D2A7-437B-9B85-952E9F4875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4298" y="4182814"/>
                <a:ext cx="72644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Oval 62">
                <a:extLst>
                  <a:ext uri="{FF2B5EF4-FFF2-40B4-BE49-F238E27FC236}">
                    <a16:creationId xmlns="" xmlns:a16="http://schemas.microsoft.com/office/drawing/2014/main" id="{F51651E9-147E-40F1-A229-CE7E96EF0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9695" y="4214689"/>
                <a:ext cx="7533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Oval 63">
                <a:extLst>
                  <a:ext uri="{FF2B5EF4-FFF2-40B4-BE49-F238E27FC236}">
                    <a16:creationId xmlns="" xmlns:a16="http://schemas.microsoft.com/office/drawing/2014/main" id="{FBD752F6-F217-41B5-9A27-CF55396735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7805" y="4007520"/>
                <a:ext cx="76680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Oval 64">
                <a:extLst>
                  <a:ext uri="{FF2B5EF4-FFF2-40B4-BE49-F238E27FC236}">
                    <a16:creationId xmlns="" xmlns:a16="http://schemas.microsoft.com/office/drawing/2014/main" id="{8D704A7F-51AA-40C6-8A0B-9AA8FAFE47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4694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Oval 65">
                <a:extLst>
                  <a:ext uri="{FF2B5EF4-FFF2-40B4-BE49-F238E27FC236}">
                    <a16:creationId xmlns="" xmlns:a16="http://schemas.microsoft.com/office/drawing/2014/main" id="{BCD21634-A69F-49AA-9399-BA065E5938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515" y="339677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Oval 66">
                <a:extLst>
                  <a:ext uri="{FF2B5EF4-FFF2-40B4-BE49-F238E27FC236}">
                    <a16:creationId xmlns="" xmlns:a16="http://schemas.microsoft.com/office/drawing/2014/main" id="{8EAA5FE1-B5BA-4CFE-AA2A-275505C7B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9835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Oval 67">
                <a:extLst>
                  <a:ext uri="{FF2B5EF4-FFF2-40B4-BE49-F238E27FC236}">
                    <a16:creationId xmlns="" xmlns:a16="http://schemas.microsoft.com/office/drawing/2014/main" id="{A560E825-E45B-48E8-9F9E-BF18D55BF4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9625" y="4272535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Oval 68">
                <a:extLst>
                  <a:ext uri="{FF2B5EF4-FFF2-40B4-BE49-F238E27FC236}">
                    <a16:creationId xmlns="" xmlns:a16="http://schemas.microsoft.com/office/drawing/2014/main" id="{62440F27-51FC-49D3-BE7C-F7A4A0E8B9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64818" y="381649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Oval 69">
                <a:extLst>
                  <a:ext uri="{FF2B5EF4-FFF2-40B4-BE49-F238E27FC236}">
                    <a16:creationId xmlns="" xmlns:a16="http://schemas.microsoft.com/office/drawing/2014/main" id="{870ABFA1-788C-459E-9971-738B113625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45400" y="421468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Oval 70">
                <a:extLst>
                  <a:ext uri="{FF2B5EF4-FFF2-40B4-BE49-F238E27FC236}">
                    <a16:creationId xmlns="" xmlns:a16="http://schemas.microsoft.com/office/drawing/2014/main" id="{A6BBB49C-4491-4A42-90F9-452BEFEFE9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2967" y="3603943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Oval 71">
                <a:extLst>
                  <a:ext uri="{FF2B5EF4-FFF2-40B4-BE49-F238E27FC236}">
                    <a16:creationId xmlns="" xmlns:a16="http://schemas.microsoft.com/office/drawing/2014/main" id="{3BD19E50-7380-4D0D-BE6D-484D5C7F5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7618" y="486713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Oval 72">
                <a:extLst>
                  <a:ext uri="{FF2B5EF4-FFF2-40B4-BE49-F238E27FC236}">
                    <a16:creationId xmlns="" xmlns:a16="http://schemas.microsoft.com/office/drawing/2014/main" id="{485AAC05-6BD8-47D3-8EE4-635905B464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6685" y="464382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Oval 73">
                <a:extLst>
                  <a:ext uri="{FF2B5EF4-FFF2-40B4-BE49-F238E27FC236}">
                    <a16:creationId xmlns="" xmlns:a16="http://schemas.microsoft.com/office/drawing/2014/main" id="{1C48824A-CBDD-4BC7-B0F5-9B60C9714F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808" y="3025483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Oval 74">
                <a:extLst>
                  <a:ext uri="{FF2B5EF4-FFF2-40B4-BE49-F238E27FC236}">
                    <a16:creationId xmlns="" xmlns:a16="http://schemas.microsoft.com/office/drawing/2014/main" id="{31FE5F08-2A6E-49DB-B928-F81ED17FC2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7338" y="3531299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Oval 75">
                <a:extLst>
                  <a:ext uri="{FF2B5EF4-FFF2-40B4-BE49-F238E27FC236}">
                    <a16:creationId xmlns="" xmlns:a16="http://schemas.microsoft.com/office/drawing/2014/main" id="{8DD72AA3-7614-47A4-9664-52AE8F50C4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5425" y="4214689"/>
                <a:ext cx="76680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Oval 76">
                <a:extLst>
                  <a:ext uri="{FF2B5EF4-FFF2-40B4-BE49-F238E27FC236}">
                    <a16:creationId xmlns="" xmlns:a16="http://schemas.microsoft.com/office/drawing/2014/main" id="{E01E7CDF-D28C-41B2-A70D-3E9220A6A1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49444" y="3846089"/>
                <a:ext cx="73989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Oval 77">
                <a:extLst>
                  <a:ext uri="{FF2B5EF4-FFF2-40B4-BE49-F238E27FC236}">
                    <a16:creationId xmlns="" xmlns:a16="http://schemas.microsoft.com/office/drawing/2014/main" id="{9434C99C-3FCD-4199-8A65-DB0DA11B6C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8807" y="4421859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Oval 78">
                <a:extLst>
                  <a:ext uri="{FF2B5EF4-FFF2-40B4-BE49-F238E27FC236}">
                    <a16:creationId xmlns="" xmlns:a16="http://schemas.microsoft.com/office/drawing/2014/main" id="{984204A5-ACB8-447D-ADE6-2BD28ABB89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2244" y="411917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Oval 79">
                <a:extLst>
                  <a:ext uri="{FF2B5EF4-FFF2-40B4-BE49-F238E27FC236}">
                    <a16:creationId xmlns="" xmlns:a16="http://schemas.microsoft.com/office/drawing/2014/main" id="{A42F464F-EDEC-4DE3-99A8-5C4AF9C1E9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0191" y="3883756"/>
                <a:ext cx="73989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2" name="Group 331">
              <a:extLst>
                <a:ext uri="{FF2B5EF4-FFF2-40B4-BE49-F238E27FC236}">
                  <a16:creationId xmlns="" xmlns:a16="http://schemas.microsoft.com/office/drawing/2014/main" id="{D5FF0F4C-CEA0-48A1-8B0A-5481059ECA39}"/>
                </a:ext>
              </a:extLst>
            </p:cNvPr>
            <p:cNvGrpSpPr/>
            <p:nvPr/>
          </p:nvGrpSpPr>
          <p:grpSpPr>
            <a:xfrm>
              <a:off x="544127" y="2287792"/>
              <a:ext cx="11103746" cy="1914300"/>
              <a:chOff x="814298" y="3025483"/>
              <a:chExt cx="11103746" cy="1914300"/>
            </a:xfrm>
            <a:grpFill/>
          </p:grpSpPr>
          <p:sp>
            <p:nvSpPr>
              <p:cNvPr id="356" name="Oval 58">
                <a:extLst>
                  <a:ext uri="{FF2B5EF4-FFF2-40B4-BE49-F238E27FC236}">
                    <a16:creationId xmlns="" xmlns:a16="http://schemas.microsoft.com/office/drawing/2014/main" id="{37B2A23C-7E4A-4262-B527-D8A6BF4EB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428" y="4608849"/>
                <a:ext cx="72644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Oval 59">
                <a:extLst>
                  <a:ext uri="{FF2B5EF4-FFF2-40B4-BE49-F238E27FC236}">
                    <a16:creationId xmlns="" xmlns:a16="http://schemas.microsoft.com/office/drawing/2014/main" id="{B2F5631A-CB41-49C4-B3A9-1AE10800FE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0332" y="4828126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Oval 60">
                <a:extLst>
                  <a:ext uri="{FF2B5EF4-FFF2-40B4-BE49-F238E27FC236}">
                    <a16:creationId xmlns="" xmlns:a16="http://schemas.microsoft.com/office/drawing/2014/main" id="{A2F59B61-7194-4CFA-81EB-50CF98E8F6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5075" y="3921423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Oval 61">
                <a:extLst>
                  <a:ext uri="{FF2B5EF4-FFF2-40B4-BE49-F238E27FC236}">
                    <a16:creationId xmlns="" xmlns:a16="http://schemas.microsoft.com/office/drawing/2014/main" id="{1B522CB5-90C1-472F-B265-EB555DADD5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4298" y="4182814"/>
                <a:ext cx="72644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Oval 62">
                <a:extLst>
                  <a:ext uri="{FF2B5EF4-FFF2-40B4-BE49-F238E27FC236}">
                    <a16:creationId xmlns="" xmlns:a16="http://schemas.microsoft.com/office/drawing/2014/main" id="{39C59ECB-D905-48D2-8E6D-88D2262FDB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9695" y="4214689"/>
                <a:ext cx="7533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Oval 63">
                <a:extLst>
                  <a:ext uri="{FF2B5EF4-FFF2-40B4-BE49-F238E27FC236}">
                    <a16:creationId xmlns="" xmlns:a16="http://schemas.microsoft.com/office/drawing/2014/main" id="{E676246A-E668-4974-A5EB-8E11B3DED4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7805" y="4007520"/>
                <a:ext cx="76680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Oval 64">
                <a:extLst>
                  <a:ext uri="{FF2B5EF4-FFF2-40B4-BE49-F238E27FC236}">
                    <a16:creationId xmlns="" xmlns:a16="http://schemas.microsoft.com/office/drawing/2014/main" id="{CECAC02B-7269-41BE-AAB4-088B176778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4694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Oval 65">
                <a:extLst>
                  <a:ext uri="{FF2B5EF4-FFF2-40B4-BE49-F238E27FC236}">
                    <a16:creationId xmlns="" xmlns:a16="http://schemas.microsoft.com/office/drawing/2014/main" id="{86B2358A-2DDD-4D7C-B31A-43DA576C33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515" y="339677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Oval 66">
                <a:extLst>
                  <a:ext uri="{FF2B5EF4-FFF2-40B4-BE49-F238E27FC236}">
                    <a16:creationId xmlns="" xmlns:a16="http://schemas.microsoft.com/office/drawing/2014/main" id="{7CCC3DCD-DD99-42ED-B564-7CC3F31282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9835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Oval 67">
                <a:extLst>
                  <a:ext uri="{FF2B5EF4-FFF2-40B4-BE49-F238E27FC236}">
                    <a16:creationId xmlns="" xmlns:a16="http://schemas.microsoft.com/office/drawing/2014/main" id="{BD8D65EF-E7DE-4BDF-972B-11A5AD2642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9625" y="4272535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Oval 68">
                <a:extLst>
                  <a:ext uri="{FF2B5EF4-FFF2-40B4-BE49-F238E27FC236}">
                    <a16:creationId xmlns="" xmlns:a16="http://schemas.microsoft.com/office/drawing/2014/main" id="{E90DC25C-9758-4881-8F17-EA9708BCAB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64818" y="381649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Oval 69">
                <a:extLst>
                  <a:ext uri="{FF2B5EF4-FFF2-40B4-BE49-F238E27FC236}">
                    <a16:creationId xmlns="" xmlns:a16="http://schemas.microsoft.com/office/drawing/2014/main" id="{4DF7B717-E287-49F5-8EDC-270547E02B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45400" y="421468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Oval 70">
                <a:extLst>
                  <a:ext uri="{FF2B5EF4-FFF2-40B4-BE49-F238E27FC236}">
                    <a16:creationId xmlns="" xmlns:a16="http://schemas.microsoft.com/office/drawing/2014/main" id="{782B3D62-6A98-4FDC-A951-24BC8D5D24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2967" y="3603943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Oval 71">
                <a:extLst>
                  <a:ext uri="{FF2B5EF4-FFF2-40B4-BE49-F238E27FC236}">
                    <a16:creationId xmlns="" xmlns:a16="http://schemas.microsoft.com/office/drawing/2014/main" id="{14AAE281-8E49-4F21-BA52-14DD352543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7618" y="486713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Oval 72">
                <a:extLst>
                  <a:ext uri="{FF2B5EF4-FFF2-40B4-BE49-F238E27FC236}">
                    <a16:creationId xmlns="" xmlns:a16="http://schemas.microsoft.com/office/drawing/2014/main" id="{3F39DB63-35A7-4669-9809-CD46D79E3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6685" y="464382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Oval 73">
                <a:extLst>
                  <a:ext uri="{FF2B5EF4-FFF2-40B4-BE49-F238E27FC236}">
                    <a16:creationId xmlns="" xmlns:a16="http://schemas.microsoft.com/office/drawing/2014/main" id="{5B1EC70C-BFFC-4345-8128-451B49688A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808" y="3025483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Oval 74">
                <a:extLst>
                  <a:ext uri="{FF2B5EF4-FFF2-40B4-BE49-F238E27FC236}">
                    <a16:creationId xmlns="" xmlns:a16="http://schemas.microsoft.com/office/drawing/2014/main" id="{863F97EB-EED4-42D8-AC70-17BF4EB6E3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7338" y="3531299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Oval 75">
                <a:extLst>
                  <a:ext uri="{FF2B5EF4-FFF2-40B4-BE49-F238E27FC236}">
                    <a16:creationId xmlns="" xmlns:a16="http://schemas.microsoft.com/office/drawing/2014/main" id="{4A3C4F72-C1F5-4371-B1E8-4059DC656E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5425" y="4214689"/>
                <a:ext cx="76680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Oval 76">
                <a:extLst>
                  <a:ext uri="{FF2B5EF4-FFF2-40B4-BE49-F238E27FC236}">
                    <a16:creationId xmlns="" xmlns:a16="http://schemas.microsoft.com/office/drawing/2014/main" id="{C42B89DB-D5D5-4720-BF71-FBC9C1DFE4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49444" y="3846089"/>
                <a:ext cx="73989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Oval 77">
                <a:extLst>
                  <a:ext uri="{FF2B5EF4-FFF2-40B4-BE49-F238E27FC236}">
                    <a16:creationId xmlns="" xmlns:a16="http://schemas.microsoft.com/office/drawing/2014/main" id="{043B4D3F-BF3C-43A1-914C-9E5C559592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8807" y="4421859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Oval 78">
                <a:extLst>
                  <a:ext uri="{FF2B5EF4-FFF2-40B4-BE49-F238E27FC236}">
                    <a16:creationId xmlns="" xmlns:a16="http://schemas.microsoft.com/office/drawing/2014/main" id="{FDF582B5-EB22-4091-9DEE-B38BC0DD55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2244" y="411917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Oval 79">
                <a:extLst>
                  <a:ext uri="{FF2B5EF4-FFF2-40B4-BE49-F238E27FC236}">
                    <a16:creationId xmlns="" xmlns:a16="http://schemas.microsoft.com/office/drawing/2014/main" id="{CC0D233D-178E-4379-A17E-C0E7E1A34C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0191" y="3883756"/>
                <a:ext cx="73989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3" name="Group 332">
              <a:extLst>
                <a:ext uri="{FF2B5EF4-FFF2-40B4-BE49-F238E27FC236}">
                  <a16:creationId xmlns="" xmlns:a16="http://schemas.microsoft.com/office/drawing/2014/main" id="{46AE09A3-79A3-4CF4-96F5-0BC3B898E98C}"/>
                </a:ext>
              </a:extLst>
            </p:cNvPr>
            <p:cNvGrpSpPr/>
            <p:nvPr/>
          </p:nvGrpSpPr>
          <p:grpSpPr>
            <a:xfrm>
              <a:off x="544127" y="4292666"/>
              <a:ext cx="11103746" cy="1914300"/>
              <a:chOff x="814298" y="3025483"/>
              <a:chExt cx="11103746" cy="1914300"/>
            </a:xfrm>
            <a:grpFill/>
          </p:grpSpPr>
          <p:sp>
            <p:nvSpPr>
              <p:cNvPr id="334" name="Oval 58">
                <a:extLst>
                  <a:ext uri="{FF2B5EF4-FFF2-40B4-BE49-F238E27FC236}">
                    <a16:creationId xmlns="" xmlns:a16="http://schemas.microsoft.com/office/drawing/2014/main" id="{6ED4D78A-E4AE-4A2A-AA07-D2A83480F0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428" y="4608849"/>
                <a:ext cx="72644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Oval 59">
                <a:extLst>
                  <a:ext uri="{FF2B5EF4-FFF2-40B4-BE49-F238E27FC236}">
                    <a16:creationId xmlns="" xmlns:a16="http://schemas.microsoft.com/office/drawing/2014/main" id="{8C1B7A8E-E8D3-4F41-9A0A-5235A112E3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0332" y="4828126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Oval 60">
                <a:extLst>
                  <a:ext uri="{FF2B5EF4-FFF2-40B4-BE49-F238E27FC236}">
                    <a16:creationId xmlns="" xmlns:a16="http://schemas.microsoft.com/office/drawing/2014/main" id="{BDD10440-AC78-4D29-8CC2-82912F3DDB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5075" y="3921423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Oval 61">
                <a:extLst>
                  <a:ext uri="{FF2B5EF4-FFF2-40B4-BE49-F238E27FC236}">
                    <a16:creationId xmlns="" xmlns:a16="http://schemas.microsoft.com/office/drawing/2014/main" id="{EE46E904-CC5B-4696-B8E6-0E63DBE045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4298" y="4182814"/>
                <a:ext cx="72644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Oval 62">
                <a:extLst>
                  <a:ext uri="{FF2B5EF4-FFF2-40B4-BE49-F238E27FC236}">
                    <a16:creationId xmlns="" xmlns:a16="http://schemas.microsoft.com/office/drawing/2014/main" id="{28D2ADBB-7AC7-4248-B1F4-3056622FA3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9695" y="4214689"/>
                <a:ext cx="7533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Oval 63">
                <a:extLst>
                  <a:ext uri="{FF2B5EF4-FFF2-40B4-BE49-F238E27FC236}">
                    <a16:creationId xmlns="" xmlns:a16="http://schemas.microsoft.com/office/drawing/2014/main" id="{F8DC5BBE-8A4B-414E-88BB-EB8AC4A13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7805" y="4007520"/>
                <a:ext cx="76680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Oval 64">
                <a:extLst>
                  <a:ext uri="{FF2B5EF4-FFF2-40B4-BE49-F238E27FC236}">
                    <a16:creationId xmlns="" xmlns:a16="http://schemas.microsoft.com/office/drawing/2014/main" id="{1F0EE553-F03F-4B9B-91BC-D0B28B772B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4694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Oval 65">
                <a:extLst>
                  <a:ext uri="{FF2B5EF4-FFF2-40B4-BE49-F238E27FC236}">
                    <a16:creationId xmlns="" xmlns:a16="http://schemas.microsoft.com/office/drawing/2014/main" id="{524E2014-A107-4AD8-9A28-1E17EBE643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515" y="339677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Oval 66">
                <a:extLst>
                  <a:ext uri="{FF2B5EF4-FFF2-40B4-BE49-F238E27FC236}">
                    <a16:creationId xmlns="" xmlns:a16="http://schemas.microsoft.com/office/drawing/2014/main" id="{0E61AA6C-784A-425E-86EB-977DCDF505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9835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Oval 67">
                <a:extLst>
                  <a:ext uri="{FF2B5EF4-FFF2-40B4-BE49-F238E27FC236}">
                    <a16:creationId xmlns="" xmlns:a16="http://schemas.microsoft.com/office/drawing/2014/main" id="{071E7611-6D0F-4D86-9D72-F8725B1740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9625" y="4272535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Oval 68">
                <a:extLst>
                  <a:ext uri="{FF2B5EF4-FFF2-40B4-BE49-F238E27FC236}">
                    <a16:creationId xmlns="" xmlns:a16="http://schemas.microsoft.com/office/drawing/2014/main" id="{8A55FF1E-B799-4529-AB31-3F4E760035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64818" y="381649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Oval 69">
                <a:extLst>
                  <a:ext uri="{FF2B5EF4-FFF2-40B4-BE49-F238E27FC236}">
                    <a16:creationId xmlns="" xmlns:a16="http://schemas.microsoft.com/office/drawing/2014/main" id="{EE601973-DAF3-4776-927D-4FE6C46618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45400" y="421468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Oval 70">
                <a:extLst>
                  <a:ext uri="{FF2B5EF4-FFF2-40B4-BE49-F238E27FC236}">
                    <a16:creationId xmlns="" xmlns:a16="http://schemas.microsoft.com/office/drawing/2014/main" id="{2E78D590-F6E7-41C8-BD88-733E9B203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2967" y="3603943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Oval 71">
                <a:extLst>
                  <a:ext uri="{FF2B5EF4-FFF2-40B4-BE49-F238E27FC236}">
                    <a16:creationId xmlns="" xmlns:a16="http://schemas.microsoft.com/office/drawing/2014/main" id="{7DD18819-335E-4831-AFF4-617A220BE3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7618" y="486713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Oval 72">
                <a:extLst>
                  <a:ext uri="{FF2B5EF4-FFF2-40B4-BE49-F238E27FC236}">
                    <a16:creationId xmlns="" xmlns:a16="http://schemas.microsoft.com/office/drawing/2014/main" id="{4E98C501-A8DB-4FFF-87E1-EEFCE686BA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6685" y="464382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Oval 73">
                <a:extLst>
                  <a:ext uri="{FF2B5EF4-FFF2-40B4-BE49-F238E27FC236}">
                    <a16:creationId xmlns="" xmlns:a16="http://schemas.microsoft.com/office/drawing/2014/main" id="{633A82ED-78F1-477D-BDEC-A79F186A77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808" y="3025483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Oval 74">
                <a:extLst>
                  <a:ext uri="{FF2B5EF4-FFF2-40B4-BE49-F238E27FC236}">
                    <a16:creationId xmlns="" xmlns:a16="http://schemas.microsoft.com/office/drawing/2014/main" id="{77457420-4357-4EA1-8399-7B213A716C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7338" y="3531299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Oval 75">
                <a:extLst>
                  <a:ext uri="{FF2B5EF4-FFF2-40B4-BE49-F238E27FC236}">
                    <a16:creationId xmlns="" xmlns:a16="http://schemas.microsoft.com/office/drawing/2014/main" id="{C45FE86D-C0E2-4F08-9B1D-1C08E24866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5425" y="4214689"/>
                <a:ext cx="76680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Oval 76">
                <a:extLst>
                  <a:ext uri="{FF2B5EF4-FFF2-40B4-BE49-F238E27FC236}">
                    <a16:creationId xmlns="" xmlns:a16="http://schemas.microsoft.com/office/drawing/2014/main" id="{484A3009-A9F9-4697-B415-BAAA6C574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49444" y="3846089"/>
                <a:ext cx="73989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Oval 77">
                <a:extLst>
                  <a:ext uri="{FF2B5EF4-FFF2-40B4-BE49-F238E27FC236}">
                    <a16:creationId xmlns="" xmlns:a16="http://schemas.microsoft.com/office/drawing/2014/main" id="{236C25BE-CAA3-41CB-B30B-861AE0BFDF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8807" y="4421859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Oval 78">
                <a:extLst>
                  <a:ext uri="{FF2B5EF4-FFF2-40B4-BE49-F238E27FC236}">
                    <a16:creationId xmlns="" xmlns:a16="http://schemas.microsoft.com/office/drawing/2014/main" id="{5C38EC93-573F-4A0B-B1B8-A8AE0733A6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2244" y="411917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Oval 79">
                <a:extLst>
                  <a:ext uri="{FF2B5EF4-FFF2-40B4-BE49-F238E27FC236}">
                    <a16:creationId xmlns="" xmlns:a16="http://schemas.microsoft.com/office/drawing/2014/main" id="{C8421B68-0EBD-45A0-9976-7058852388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0191" y="3883756"/>
                <a:ext cx="73989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cxnSp>
        <p:nvCxnSpPr>
          <p:cNvPr id="236" name="Straight Connector 235">
            <a:extLst>
              <a:ext uri="{FF2B5EF4-FFF2-40B4-BE49-F238E27FC236}">
                <a16:creationId xmlns="" xmlns:a16="http://schemas.microsoft.com/office/drawing/2014/main" id="{7CAA804B-F70E-4EBD-A48C-EAD8A7C82985}"/>
              </a:ext>
            </a:extLst>
          </p:cNvPr>
          <p:cNvCxnSpPr/>
          <p:nvPr/>
        </p:nvCxnSpPr>
        <p:spPr>
          <a:xfrm>
            <a:off x="109432" y="1523003"/>
            <a:ext cx="2983379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49">
            <a:extLst>
              <a:ext uri="{FF2B5EF4-FFF2-40B4-BE49-F238E27FC236}">
                <a16:creationId xmlns="" xmlns:a16="http://schemas.microsoft.com/office/drawing/2014/main" id="{B8316E93-C43C-4EF3-BC37-B11AA7507C97}"/>
              </a:ext>
            </a:extLst>
          </p:cNvPr>
          <p:cNvSpPr txBox="1"/>
          <p:nvPr/>
        </p:nvSpPr>
        <p:spPr>
          <a:xfrm>
            <a:off x="-2319961" y="848424"/>
            <a:ext cx="7895885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fr-FR" sz="3800" b="1" dirty="0" smtClean="0">
                <a:solidFill>
                  <a:srgbClr val="D63A31"/>
                </a:solidFill>
                <a:latin typeface="+mj-lt"/>
              </a:rPr>
              <a:t>Reso</a:t>
            </a:r>
            <a:r>
              <a:rPr lang="fr-FR" sz="3800" b="1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urces</a:t>
            </a:r>
            <a:r>
              <a:rPr lang="en-US" sz="4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endParaRPr lang="id-ID" sz="44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83" name="Freeform: Shape 50">
            <a:extLst>
              <a:ext uri="{FF2B5EF4-FFF2-40B4-BE49-F238E27FC236}">
                <a16:creationId xmlns="" xmlns:a16="http://schemas.microsoft.com/office/drawing/2014/main" id="{7CD51AD5-0DBD-4EE8-8EBF-C29B4D26448B}"/>
              </a:ext>
            </a:extLst>
          </p:cNvPr>
          <p:cNvSpPr/>
          <p:nvPr/>
        </p:nvSpPr>
        <p:spPr>
          <a:xfrm>
            <a:off x="3452682" y="112543"/>
            <a:ext cx="6347812" cy="839713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/>
        </p:nvSpPr>
        <p:spPr>
          <a:xfrm>
            <a:off x="2689811" y="1875516"/>
            <a:ext cx="5089084" cy="708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 algn="ctr">
              <a:buFont typeface="Wingdings" panose="05000000000000000000" pitchFamily="2" charset="2"/>
              <a:buChar char="ü"/>
            </a:pPr>
            <a:r>
              <a:rPr lang="fr-FR" sz="3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fr-FR" sz="3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giciel</a:t>
            </a:r>
            <a:r>
              <a:rPr lang="fr-FR" sz="3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endParaRPr lang="fr-FR" sz="3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9" name="Nuage 88"/>
          <p:cNvSpPr/>
          <p:nvPr/>
        </p:nvSpPr>
        <p:spPr>
          <a:xfrm>
            <a:off x="11023718" y="6148200"/>
            <a:ext cx="624943" cy="438760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>
                <a:solidFill>
                  <a:schemeClr val="tx2"/>
                </a:solidFill>
                <a:latin typeface="Gabriola" panose="04040605051002020D02" pitchFamily="82" charset="0"/>
              </a:rPr>
              <a:t>7</a:t>
            </a:r>
          </a:p>
        </p:txBody>
      </p:sp>
      <p:sp>
        <p:nvSpPr>
          <p:cNvPr id="86" name="TextBox 52">
            <a:extLst>
              <a:ext uri="{FF2B5EF4-FFF2-40B4-BE49-F238E27FC236}">
                <a16:creationId xmlns="" xmlns:a16="http://schemas.microsoft.com/office/drawing/2014/main" id="{B0521F56-07AC-43A5-A8B8-E5AA2009C0A4}"/>
              </a:ext>
            </a:extLst>
          </p:cNvPr>
          <p:cNvSpPr txBox="1"/>
          <p:nvPr/>
        </p:nvSpPr>
        <p:spPr>
          <a:xfrm>
            <a:off x="4204136" y="300019"/>
            <a:ext cx="4650940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Présentation du </a:t>
            </a: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p</a:t>
            </a: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ojet 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  <a:p>
            <a:pPr algn="ctr">
              <a:buClr>
                <a:schemeClr val="accent2"/>
              </a:buClr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8194" name="Picture 2" descr="bureautique:logo-ganttproject.jpg [LinuxPedia]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42" y="3862975"/>
            <a:ext cx="1887141" cy="1358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8" name="Picture 6" descr="Microsoft launches Visual Studio Online public preview and ML.NET 1.4 |  VentureBeat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30" t="16571" r="6613" b="16000"/>
          <a:stretch/>
        </p:blipFill>
        <p:spPr bwMode="auto">
          <a:xfrm>
            <a:off x="7657818" y="5578397"/>
            <a:ext cx="2400928" cy="931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0" name="Picture 8" descr="Visual Paradigm | LinkedIn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1995" y="5038417"/>
            <a:ext cx="1544817" cy="1544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2" name="Picture 10" descr="Upgrading to SQL Server 2016 Part 3 | IT Pro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58" t="6286" r="19278" b="8857"/>
          <a:stretch/>
        </p:blipFill>
        <p:spPr bwMode="auto">
          <a:xfrm>
            <a:off x="6423470" y="3292457"/>
            <a:ext cx="1726125" cy="1268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4" name="Picture 12" descr="StarUML - Download [108 MB]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81" t="14687" r="19904" b="25492"/>
          <a:stretch/>
        </p:blipFill>
        <p:spPr bwMode="auto">
          <a:xfrm>
            <a:off x="3220616" y="2596017"/>
            <a:ext cx="1413662" cy="1595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490131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2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2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1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1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82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82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81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81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82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82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8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="" xmlns:a16="http://schemas.microsoft.com/office/drawing/2014/main" id="{ED5F9518-CD35-4890-A84B-CD91423FA53B}"/>
              </a:ext>
            </a:extLst>
          </p:cNvPr>
          <p:cNvGrpSpPr/>
          <p:nvPr/>
        </p:nvGrpSpPr>
        <p:grpSpPr>
          <a:xfrm>
            <a:off x="9087574" y="1"/>
            <a:ext cx="2982972" cy="5160789"/>
            <a:chOff x="348944" y="-1192559"/>
            <a:chExt cx="5214679" cy="7038846"/>
          </a:xfrm>
        </p:grpSpPr>
        <p:sp>
          <p:nvSpPr>
            <p:cNvPr id="38" name="Rectangle 37">
              <a:extLst>
                <a:ext uri="{FF2B5EF4-FFF2-40B4-BE49-F238E27FC236}">
                  <a16:creationId xmlns="" xmlns:a16="http://schemas.microsoft.com/office/drawing/2014/main" id="{94F05CF3-BB7B-4AB0-B104-4D438AB9652F}"/>
                </a:ext>
              </a:extLst>
            </p:cNvPr>
            <p:cNvSpPr/>
            <p:nvPr/>
          </p:nvSpPr>
          <p:spPr>
            <a:xfrm>
              <a:off x="1877054" y="-1192559"/>
              <a:ext cx="182673" cy="346218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="" xmlns:a16="http://schemas.microsoft.com/office/drawing/2014/main" id="{99B50A13-F887-4E6B-8D69-C0B2A280E978}"/>
                </a:ext>
              </a:extLst>
            </p:cNvPr>
            <p:cNvSpPr/>
            <p:nvPr/>
          </p:nvSpPr>
          <p:spPr>
            <a:xfrm>
              <a:off x="4401269" y="-1192559"/>
              <a:ext cx="182673" cy="346218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5" name="Graphic 34">
              <a:extLst>
                <a:ext uri="{FF2B5EF4-FFF2-40B4-BE49-F238E27FC236}">
                  <a16:creationId xmlns="" xmlns:a16="http://schemas.microsoft.com/office/drawing/2014/main" id="{232002BB-AD88-4D12-B607-99FC00B26A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48944" y="1853132"/>
              <a:ext cx="3238893" cy="3993155"/>
            </a:xfrm>
            <a:prstGeom prst="rect">
              <a:avLst/>
            </a:prstGeom>
          </p:spPr>
        </p:pic>
        <p:pic>
          <p:nvPicPr>
            <p:cNvPr id="37" name="Graphic 36">
              <a:extLst>
                <a:ext uri="{FF2B5EF4-FFF2-40B4-BE49-F238E27FC236}">
                  <a16:creationId xmlns="" xmlns:a16="http://schemas.microsoft.com/office/drawing/2014/main" id="{324E2088-9692-415E-A4B7-C595B3372E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10451" y="1357246"/>
              <a:ext cx="2153172" cy="2653910"/>
            </a:xfrm>
            <a:prstGeom prst="rect">
              <a:avLst/>
            </a:prstGeom>
          </p:spPr>
        </p:pic>
      </p:grpSp>
      <p:grpSp>
        <p:nvGrpSpPr>
          <p:cNvPr id="330" name="Group 329">
            <a:extLst>
              <a:ext uri="{FF2B5EF4-FFF2-40B4-BE49-F238E27FC236}">
                <a16:creationId xmlns="" xmlns:a16="http://schemas.microsoft.com/office/drawing/2014/main" id="{98C82C47-847A-48E0-A010-BBB3742BE36D}"/>
              </a:ext>
            </a:extLst>
          </p:cNvPr>
          <p:cNvGrpSpPr/>
          <p:nvPr/>
        </p:nvGrpSpPr>
        <p:grpSpPr>
          <a:xfrm>
            <a:off x="544127" y="466977"/>
            <a:ext cx="11103746" cy="5924047"/>
            <a:chOff x="544127" y="282919"/>
            <a:chExt cx="11103746" cy="5924047"/>
          </a:xfrm>
          <a:solidFill>
            <a:schemeClr val="accent3">
              <a:lumMod val="40000"/>
              <a:lumOff val="60000"/>
            </a:schemeClr>
          </a:solidFill>
        </p:grpSpPr>
        <p:grpSp>
          <p:nvGrpSpPr>
            <p:cNvPr id="331" name="Group 330">
              <a:extLst>
                <a:ext uri="{FF2B5EF4-FFF2-40B4-BE49-F238E27FC236}">
                  <a16:creationId xmlns="" xmlns:a16="http://schemas.microsoft.com/office/drawing/2014/main" id="{7EEC2A24-3F09-4001-A666-A9772E7E0BD4}"/>
                </a:ext>
              </a:extLst>
            </p:cNvPr>
            <p:cNvGrpSpPr/>
            <p:nvPr/>
          </p:nvGrpSpPr>
          <p:grpSpPr>
            <a:xfrm>
              <a:off x="544127" y="282919"/>
              <a:ext cx="11103746" cy="1914300"/>
              <a:chOff x="814298" y="3025483"/>
              <a:chExt cx="11103746" cy="1914300"/>
            </a:xfrm>
            <a:grpFill/>
          </p:grpSpPr>
          <p:sp>
            <p:nvSpPr>
              <p:cNvPr id="378" name="Oval 58">
                <a:extLst>
                  <a:ext uri="{FF2B5EF4-FFF2-40B4-BE49-F238E27FC236}">
                    <a16:creationId xmlns="" xmlns:a16="http://schemas.microsoft.com/office/drawing/2014/main" id="{3E5FE7ED-2D0A-4A7F-98FF-74D607303B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428" y="4608849"/>
                <a:ext cx="72644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Oval 59">
                <a:extLst>
                  <a:ext uri="{FF2B5EF4-FFF2-40B4-BE49-F238E27FC236}">
                    <a16:creationId xmlns="" xmlns:a16="http://schemas.microsoft.com/office/drawing/2014/main" id="{744C72AB-A2A8-46BD-8DF8-F530C90D9D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0332" y="4828126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Oval 60">
                <a:extLst>
                  <a:ext uri="{FF2B5EF4-FFF2-40B4-BE49-F238E27FC236}">
                    <a16:creationId xmlns="" xmlns:a16="http://schemas.microsoft.com/office/drawing/2014/main" id="{8E24C8C0-747C-49CE-82D0-3400BF0E39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5075" y="3921423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Oval 61">
                <a:extLst>
                  <a:ext uri="{FF2B5EF4-FFF2-40B4-BE49-F238E27FC236}">
                    <a16:creationId xmlns="" xmlns:a16="http://schemas.microsoft.com/office/drawing/2014/main" id="{05F7E92D-D2A7-437B-9B85-952E9F4875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4298" y="4182814"/>
                <a:ext cx="72644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Oval 62">
                <a:extLst>
                  <a:ext uri="{FF2B5EF4-FFF2-40B4-BE49-F238E27FC236}">
                    <a16:creationId xmlns="" xmlns:a16="http://schemas.microsoft.com/office/drawing/2014/main" id="{F51651E9-147E-40F1-A229-CE7E96EF0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9695" y="4214689"/>
                <a:ext cx="7533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Oval 63">
                <a:extLst>
                  <a:ext uri="{FF2B5EF4-FFF2-40B4-BE49-F238E27FC236}">
                    <a16:creationId xmlns="" xmlns:a16="http://schemas.microsoft.com/office/drawing/2014/main" id="{FBD752F6-F217-41B5-9A27-CF55396735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7805" y="4007520"/>
                <a:ext cx="76680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Oval 64">
                <a:extLst>
                  <a:ext uri="{FF2B5EF4-FFF2-40B4-BE49-F238E27FC236}">
                    <a16:creationId xmlns="" xmlns:a16="http://schemas.microsoft.com/office/drawing/2014/main" id="{8D704A7F-51AA-40C6-8A0B-9AA8FAFE47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4694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Oval 65">
                <a:extLst>
                  <a:ext uri="{FF2B5EF4-FFF2-40B4-BE49-F238E27FC236}">
                    <a16:creationId xmlns="" xmlns:a16="http://schemas.microsoft.com/office/drawing/2014/main" id="{BCD21634-A69F-49AA-9399-BA065E5938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515" y="339677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Oval 66">
                <a:extLst>
                  <a:ext uri="{FF2B5EF4-FFF2-40B4-BE49-F238E27FC236}">
                    <a16:creationId xmlns="" xmlns:a16="http://schemas.microsoft.com/office/drawing/2014/main" id="{8EAA5FE1-B5BA-4CFE-AA2A-275505C7B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9835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Oval 67">
                <a:extLst>
                  <a:ext uri="{FF2B5EF4-FFF2-40B4-BE49-F238E27FC236}">
                    <a16:creationId xmlns="" xmlns:a16="http://schemas.microsoft.com/office/drawing/2014/main" id="{A560E825-E45B-48E8-9F9E-BF18D55BF4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9625" y="4272535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Oval 68">
                <a:extLst>
                  <a:ext uri="{FF2B5EF4-FFF2-40B4-BE49-F238E27FC236}">
                    <a16:creationId xmlns="" xmlns:a16="http://schemas.microsoft.com/office/drawing/2014/main" id="{62440F27-51FC-49D3-BE7C-F7A4A0E8B9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64818" y="381649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Oval 69">
                <a:extLst>
                  <a:ext uri="{FF2B5EF4-FFF2-40B4-BE49-F238E27FC236}">
                    <a16:creationId xmlns="" xmlns:a16="http://schemas.microsoft.com/office/drawing/2014/main" id="{870ABFA1-788C-459E-9971-738B113625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45400" y="421468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Oval 70">
                <a:extLst>
                  <a:ext uri="{FF2B5EF4-FFF2-40B4-BE49-F238E27FC236}">
                    <a16:creationId xmlns="" xmlns:a16="http://schemas.microsoft.com/office/drawing/2014/main" id="{A6BBB49C-4491-4A42-90F9-452BEFEFE9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2967" y="3603943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Oval 71">
                <a:extLst>
                  <a:ext uri="{FF2B5EF4-FFF2-40B4-BE49-F238E27FC236}">
                    <a16:creationId xmlns="" xmlns:a16="http://schemas.microsoft.com/office/drawing/2014/main" id="{3BD19E50-7380-4D0D-BE6D-484D5C7F5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7618" y="486713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Oval 72">
                <a:extLst>
                  <a:ext uri="{FF2B5EF4-FFF2-40B4-BE49-F238E27FC236}">
                    <a16:creationId xmlns="" xmlns:a16="http://schemas.microsoft.com/office/drawing/2014/main" id="{485AAC05-6BD8-47D3-8EE4-635905B464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6685" y="464382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Oval 73">
                <a:extLst>
                  <a:ext uri="{FF2B5EF4-FFF2-40B4-BE49-F238E27FC236}">
                    <a16:creationId xmlns="" xmlns:a16="http://schemas.microsoft.com/office/drawing/2014/main" id="{1C48824A-CBDD-4BC7-B0F5-9B60C9714F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808" y="3025483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Oval 74">
                <a:extLst>
                  <a:ext uri="{FF2B5EF4-FFF2-40B4-BE49-F238E27FC236}">
                    <a16:creationId xmlns="" xmlns:a16="http://schemas.microsoft.com/office/drawing/2014/main" id="{31FE5F08-2A6E-49DB-B928-F81ED17FC2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7338" y="3531299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Oval 75">
                <a:extLst>
                  <a:ext uri="{FF2B5EF4-FFF2-40B4-BE49-F238E27FC236}">
                    <a16:creationId xmlns="" xmlns:a16="http://schemas.microsoft.com/office/drawing/2014/main" id="{8DD72AA3-7614-47A4-9664-52AE8F50C4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5425" y="4214689"/>
                <a:ext cx="76680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Oval 76">
                <a:extLst>
                  <a:ext uri="{FF2B5EF4-FFF2-40B4-BE49-F238E27FC236}">
                    <a16:creationId xmlns="" xmlns:a16="http://schemas.microsoft.com/office/drawing/2014/main" id="{E01E7CDF-D28C-41B2-A70D-3E9220A6A1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49444" y="3846089"/>
                <a:ext cx="73989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Oval 77">
                <a:extLst>
                  <a:ext uri="{FF2B5EF4-FFF2-40B4-BE49-F238E27FC236}">
                    <a16:creationId xmlns="" xmlns:a16="http://schemas.microsoft.com/office/drawing/2014/main" id="{9434C99C-3FCD-4199-8A65-DB0DA11B6C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8807" y="4421859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Oval 78">
                <a:extLst>
                  <a:ext uri="{FF2B5EF4-FFF2-40B4-BE49-F238E27FC236}">
                    <a16:creationId xmlns="" xmlns:a16="http://schemas.microsoft.com/office/drawing/2014/main" id="{984204A5-ACB8-447D-ADE6-2BD28ABB89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2244" y="411917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Oval 79">
                <a:extLst>
                  <a:ext uri="{FF2B5EF4-FFF2-40B4-BE49-F238E27FC236}">
                    <a16:creationId xmlns="" xmlns:a16="http://schemas.microsoft.com/office/drawing/2014/main" id="{A42F464F-EDEC-4DE3-99A8-5C4AF9C1E9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0191" y="3883756"/>
                <a:ext cx="73989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2" name="Group 331">
              <a:extLst>
                <a:ext uri="{FF2B5EF4-FFF2-40B4-BE49-F238E27FC236}">
                  <a16:creationId xmlns="" xmlns:a16="http://schemas.microsoft.com/office/drawing/2014/main" id="{D5FF0F4C-CEA0-48A1-8B0A-5481059ECA39}"/>
                </a:ext>
              </a:extLst>
            </p:cNvPr>
            <p:cNvGrpSpPr/>
            <p:nvPr/>
          </p:nvGrpSpPr>
          <p:grpSpPr>
            <a:xfrm>
              <a:off x="544127" y="2287792"/>
              <a:ext cx="11103746" cy="1914300"/>
              <a:chOff x="814298" y="3025483"/>
              <a:chExt cx="11103746" cy="1914300"/>
            </a:xfrm>
            <a:grpFill/>
          </p:grpSpPr>
          <p:sp>
            <p:nvSpPr>
              <p:cNvPr id="356" name="Oval 58">
                <a:extLst>
                  <a:ext uri="{FF2B5EF4-FFF2-40B4-BE49-F238E27FC236}">
                    <a16:creationId xmlns="" xmlns:a16="http://schemas.microsoft.com/office/drawing/2014/main" id="{37B2A23C-7E4A-4262-B527-D8A6BF4EB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428" y="4608849"/>
                <a:ext cx="72644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Oval 59">
                <a:extLst>
                  <a:ext uri="{FF2B5EF4-FFF2-40B4-BE49-F238E27FC236}">
                    <a16:creationId xmlns="" xmlns:a16="http://schemas.microsoft.com/office/drawing/2014/main" id="{B2F5631A-CB41-49C4-B3A9-1AE10800FE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0332" y="4828126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Oval 60">
                <a:extLst>
                  <a:ext uri="{FF2B5EF4-FFF2-40B4-BE49-F238E27FC236}">
                    <a16:creationId xmlns="" xmlns:a16="http://schemas.microsoft.com/office/drawing/2014/main" id="{A2F59B61-7194-4CFA-81EB-50CF98E8F6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5075" y="3921423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Oval 61">
                <a:extLst>
                  <a:ext uri="{FF2B5EF4-FFF2-40B4-BE49-F238E27FC236}">
                    <a16:creationId xmlns="" xmlns:a16="http://schemas.microsoft.com/office/drawing/2014/main" id="{1B522CB5-90C1-472F-B265-EB555DADD5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4298" y="4182814"/>
                <a:ext cx="72644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Oval 62">
                <a:extLst>
                  <a:ext uri="{FF2B5EF4-FFF2-40B4-BE49-F238E27FC236}">
                    <a16:creationId xmlns="" xmlns:a16="http://schemas.microsoft.com/office/drawing/2014/main" id="{39C59ECB-D905-48D2-8E6D-88D2262FDB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9695" y="4214689"/>
                <a:ext cx="7533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Oval 63">
                <a:extLst>
                  <a:ext uri="{FF2B5EF4-FFF2-40B4-BE49-F238E27FC236}">
                    <a16:creationId xmlns="" xmlns:a16="http://schemas.microsoft.com/office/drawing/2014/main" id="{E676246A-E668-4974-A5EB-8E11B3DED4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7805" y="4007520"/>
                <a:ext cx="76680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Oval 64">
                <a:extLst>
                  <a:ext uri="{FF2B5EF4-FFF2-40B4-BE49-F238E27FC236}">
                    <a16:creationId xmlns="" xmlns:a16="http://schemas.microsoft.com/office/drawing/2014/main" id="{CECAC02B-7269-41BE-AAB4-088B176778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4694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Oval 65">
                <a:extLst>
                  <a:ext uri="{FF2B5EF4-FFF2-40B4-BE49-F238E27FC236}">
                    <a16:creationId xmlns="" xmlns:a16="http://schemas.microsoft.com/office/drawing/2014/main" id="{86B2358A-2DDD-4D7C-B31A-43DA576C33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515" y="339677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Oval 66">
                <a:extLst>
                  <a:ext uri="{FF2B5EF4-FFF2-40B4-BE49-F238E27FC236}">
                    <a16:creationId xmlns="" xmlns:a16="http://schemas.microsoft.com/office/drawing/2014/main" id="{7CCC3DCD-DD99-42ED-B564-7CC3F31282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9835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Oval 67">
                <a:extLst>
                  <a:ext uri="{FF2B5EF4-FFF2-40B4-BE49-F238E27FC236}">
                    <a16:creationId xmlns="" xmlns:a16="http://schemas.microsoft.com/office/drawing/2014/main" id="{BD8D65EF-E7DE-4BDF-972B-11A5AD2642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9625" y="4272535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Oval 68">
                <a:extLst>
                  <a:ext uri="{FF2B5EF4-FFF2-40B4-BE49-F238E27FC236}">
                    <a16:creationId xmlns="" xmlns:a16="http://schemas.microsoft.com/office/drawing/2014/main" id="{E90DC25C-9758-4881-8F17-EA9708BCAB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64818" y="381649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Oval 69">
                <a:extLst>
                  <a:ext uri="{FF2B5EF4-FFF2-40B4-BE49-F238E27FC236}">
                    <a16:creationId xmlns="" xmlns:a16="http://schemas.microsoft.com/office/drawing/2014/main" id="{4DF7B717-E287-49F5-8EDC-270547E02B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45400" y="421468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Oval 70">
                <a:extLst>
                  <a:ext uri="{FF2B5EF4-FFF2-40B4-BE49-F238E27FC236}">
                    <a16:creationId xmlns="" xmlns:a16="http://schemas.microsoft.com/office/drawing/2014/main" id="{782B3D62-6A98-4FDC-A951-24BC8D5D24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2967" y="3603943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Oval 71">
                <a:extLst>
                  <a:ext uri="{FF2B5EF4-FFF2-40B4-BE49-F238E27FC236}">
                    <a16:creationId xmlns="" xmlns:a16="http://schemas.microsoft.com/office/drawing/2014/main" id="{14AAE281-8E49-4F21-BA52-14DD352543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7618" y="486713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Oval 72">
                <a:extLst>
                  <a:ext uri="{FF2B5EF4-FFF2-40B4-BE49-F238E27FC236}">
                    <a16:creationId xmlns="" xmlns:a16="http://schemas.microsoft.com/office/drawing/2014/main" id="{3F39DB63-35A7-4669-9809-CD46D79E3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6685" y="464382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Oval 73">
                <a:extLst>
                  <a:ext uri="{FF2B5EF4-FFF2-40B4-BE49-F238E27FC236}">
                    <a16:creationId xmlns="" xmlns:a16="http://schemas.microsoft.com/office/drawing/2014/main" id="{5B1EC70C-BFFC-4345-8128-451B49688A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808" y="3025483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Oval 74">
                <a:extLst>
                  <a:ext uri="{FF2B5EF4-FFF2-40B4-BE49-F238E27FC236}">
                    <a16:creationId xmlns="" xmlns:a16="http://schemas.microsoft.com/office/drawing/2014/main" id="{863F97EB-EED4-42D8-AC70-17BF4EB6E3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7338" y="3531299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Oval 75">
                <a:extLst>
                  <a:ext uri="{FF2B5EF4-FFF2-40B4-BE49-F238E27FC236}">
                    <a16:creationId xmlns="" xmlns:a16="http://schemas.microsoft.com/office/drawing/2014/main" id="{4A3C4F72-C1F5-4371-B1E8-4059DC656E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5425" y="4214689"/>
                <a:ext cx="76680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Oval 76">
                <a:extLst>
                  <a:ext uri="{FF2B5EF4-FFF2-40B4-BE49-F238E27FC236}">
                    <a16:creationId xmlns="" xmlns:a16="http://schemas.microsoft.com/office/drawing/2014/main" id="{C42B89DB-D5D5-4720-BF71-FBC9C1DFE4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49444" y="3846089"/>
                <a:ext cx="73989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Oval 77">
                <a:extLst>
                  <a:ext uri="{FF2B5EF4-FFF2-40B4-BE49-F238E27FC236}">
                    <a16:creationId xmlns="" xmlns:a16="http://schemas.microsoft.com/office/drawing/2014/main" id="{043B4D3F-BF3C-43A1-914C-9E5C559592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8807" y="4421859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Oval 78">
                <a:extLst>
                  <a:ext uri="{FF2B5EF4-FFF2-40B4-BE49-F238E27FC236}">
                    <a16:creationId xmlns="" xmlns:a16="http://schemas.microsoft.com/office/drawing/2014/main" id="{FDF582B5-EB22-4091-9DEE-B38BC0DD55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2244" y="411917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Oval 79">
                <a:extLst>
                  <a:ext uri="{FF2B5EF4-FFF2-40B4-BE49-F238E27FC236}">
                    <a16:creationId xmlns="" xmlns:a16="http://schemas.microsoft.com/office/drawing/2014/main" id="{CC0D233D-178E-4379-A17E-C0E7E1A34C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0191" y="3883756"/>
                <a:ext cx="73989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3" name="Group 332">
              <a:extLst>
                <a:ext uri="{FF2B5EF4-FFF2-40B4-BE49-F238E27FC236}">
                  <a16:creationId xmlns="" xmlns:a16="http://schemas.microsoft.com/office/drawing/2014/main" id="{46AE09A3-79A3-4CF4-96F5-0BC3B898E98C}"/>
                </a:ext>
              </a:extLst>
            </p:cNvPr>
            <p:cNvGrpSpPr/>
            <p:nvPr/>
          </p:nvGrpSpPr>
          <p:grpSpPr>
            <a:xfrm>
              <a:off x="544127" y="4292666"/>
              <a:ext cx="11103746" cy="1914300"/>
              <a:chOff x="814298" y="3025483"/>
              <a:chExt cx="11103746" cy="1914300"/>
            </a:xfrm>
            <a:grpFill/>
          </p:grpSpPr>
          <p:sp>
            <p:nvSpPr>
              <p:cNvPr id="334" name="Oval 58">
                <a:extLst>
                  <a:ext uri="{FF2B5EF4-FFF2-40B4-BE49-F238E27FC236}">
                    <a16:creationId xmlns="" xmlns:a16="http://schemas.microsoft.com/office/drawing/2014/main" id="{6ED4D78A-E4AE-4A2A-AA07-D2A83480F0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428" y="4608849"/>
                <a:ext cx="72644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Oval 59">
                <a:extLst>
                  <a:ext uri="{FF2B5EF4-FFF2-40B4-BE49-F238E27FC236}">
                    <a16:creationId xmlns="" xmlns:a16="http://schemas.microsoft.com/office/drawing/2014/main" id="{8C1B7A8E-E8D3-4F41-9A0A-5235A112E3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0332" y="4828126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Oval 60">
                <a:extLst>
                  <a:ext uri="{FF2B5EF4-FFF2-40B4-BE49-F238E27FC236}">
                    <a16:creationId xmlns="" xmlns:a16="http://schemas.microsoft.com/office/drawing/2014/main" id="{BDD10440-AC78-4D29-8CC2-82912F3DDB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5075" y="3921423"/>
                <a:ext cx="73989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Oval 61">
                <a:extLst>
                  <a:ext uri="{FF2B5EF4-FFF2-40B4-BE49-F238E27FC236}">
                    <a16:creationId xmlns="" xmlns:a16="http://schemas.microsoft.com/office/drawing/2014/main" id="{EE46E904-CC5B-4696-B8E6-0E63DBE045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4298" y="4182814"/>
                <a:ext cx="72644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Oval 62">
                <a:extLst>
                  <a:ext uri="{FF2B5EF4-FFF2-40B4-BE49-F238E27FC236}">
                    <a16:creationId xmlns="" xmlns:a16="http://schemas.microsoft.com/office/drawing/2014/main" id="{28D2ADBB-7AC7-4248-B1F4-3056622FA3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9695" y="4214689"/>
                <a:ext cx="7533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Oval 63">
                <a:extLst>
                  <a:ext uri="{FF2B5EF4-FFF2-40B4-BE49-F238E27FC236}">
                    <a16:creationId xmlns="" xmlns:a16="http://schemas.microsoft.com/office/drawing/2014/main" id="{F8DC5BBE-8A4B-414E-88BB-EB8AC4A13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7805" y="4007520"/>
                <a:ext cx="76680" cy="7398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Oval 64">
                <a:extLst>
                  <a:ext uri="{FF2B5EF4-FFF2-40B4-BE49-F238E27FC236}">
                    <a16:creationId xmlns="" xmlns:a16="http://schemas.microsoft.com/office/drawing/2014/main" id="{1F0EE553-F03F-4B9B-91BC-D0B28B772B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4694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Oval 65">
                <a:extLst>
                  <a:ext uri="{FF2B5EF4-FFF2-40B4-BE49-F238E27FC236}">
                    <a16:creationId xmlns="" xmlns:a16="http://schemas.microsoft.com/office/drawing/2014/main" id="{524E2014-A107-4AD8-9A28-1E17EBE643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515" y="339677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Oval 66">
                <a:extLst>
                  <a:ext uri="{FF2B5EF4-FFF2-40B4-BE49-F238E27FC236}">
                    <a16:creationId xmlns="" xmlns:a16="http://schemas.microsoft.com/office/drawing/2014/main" id="{0E61AA6C-784A-425E-86EB-977DCDF505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9835" y="3260902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Oval 67">
                <a:extLst>
                  <a:ext uri="{FF2B5EF4-FFF2-40B4-BE49-F238E27FC236}">
                    <a16:creationId xmlns="" xmlns:a16="http://schemas.microsoft.com/office/drawing/2014/main" id="{071E7611-6D0F-4D86-9D72-F8725B1740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9625" y="4272535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Oval 68">
                <a:extLst>
                  <a:ext uri="{FF2B5EF4-FFF2-40B4-BE49-F238E27FC236}">
                    <a16:creationId xmlns="" xmlns:a16="http://schemas.microsoft.com/office/drawing/2014/main" id="{8A55FF1E-B799-4529-AB31-3F4E760035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64818" y="3816493"/>
                <a:ext cx="73989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Oval 69">
                <a:extLst>
                  <a:ext uri="{FF2B5EF4-FFF2-40B4-BE49-F238E27FC236}">
                    <a16:creationId xmlns="" xmlns:a16="http://schemas.microsoft.com/office/drawing/2014/main" id="{EE601973-DAF3-4776-927D-4FE6C46618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45400" y="421468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Oval 70">
                <a:extLst>
                  <a:ext uri="{FF2B5EF4-FFF2-40B4-BE49-F238E27FC236}">
                    <a16:creationId xmlns="" xmlns:a16="http://schemas.microsoft.com/office/drawing/2014/main" id="{2E78D590-F6E7-41C8-BD88-733E9B203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2967" y="3603943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Oval 71">
                <a:extLst>
                  <a:ext uri="{FF2B5EF4-FFF2-40B4-BE49-F238E27FC236}">
                    <a16:creationId xmlns="" xmlns:a16="http://schemas.microsoft.com/office/drawing/2014/main" id="{7DD18819-335E-4831-AFF4-617A220BE3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7618" y="4867139"/>
                <a:ext cx="72644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Oval 72">
                <a:extLst>
                  <a:ext uri="{FF2B5EF4-FFF2-40B4-BE49-F238E27FC236}">
                    <a16:creationId xmlns="" xmlns:a16="http://schemas.microsoft.com/office/drawing/2014/main" id="{4E98C501-A8DB-4FFF-87E1-EEFCE686BA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6685" y="464382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Oval 73">
                <a:extLst>
                  <a:ext uri="{FF2B5EF4-FFF2-40B4-BE49-F238E27FC236}">
                    <a16:creationId xmlns="" xmlns:a16="http://schemas.microsoft.com/office/drawing/2014/main" id="{633A82ED-78F1-477D-BDEC-A79F186A77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3808" y="3025483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Oval 74">
                <a:extLst>
                  <a:ext uri="{FF2B5EF4-FFF2-40B4-BE49-F238E27FC236}">
                    <a16:creationId xmlns="" xmlns:a16="http://schemas.microsoft.com/office/drawing/2014/main" id="{77457420-4357-4EA1-8399-7B213A716C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7338" y="3531299"/>
                <a:ext cx="7264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Oval 75">
                <a:extLst>
                  <a:ext uri="{FF2B5EF4-FFF2-40B4-BE49-F238E27FC236}">
                    <a16:creationId xmlns="" xmlns:a16="http://schemas.microsoft.com/office/drawing/2014/main" id="{C45FE86D-C0E2-4F08-9B1D-1C08E24866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5425" y="4214689"/>
                <a:ext cx="76680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Oval 76">
                <a:extLst>
                  <a:ext uri="{FF2B5EF4-FFF2-40B4-BE49-F238E27FC236}">
                    <a16:creationId xmlns="" xmlns:a16="http://schemas.microsoft.com/office/drawing/2014/main" id="{484A3009-A9F9-4697-B415-BAAA6C574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49444" y="3846089"/>
                <a:ext cx="73989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Oval 77">
                <a:extLst>
                  <a:ext uri="{FF2B5EF4-FFF2-40B4-BE49-F238E27FC236}">
                    <a16:creationId xmlns="" xmlns:a16="http://schemas.microsoft.com/office/drawing/2014/main" id="{236C25BE-CAA3-41CB-B30B-861AE0BFDF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38807" y="4421859"/>
                <a:ext cx="75334" cy="7533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Oval 78">
                <a:extLst>
                  <a:ext uri="{FF2B5EF4-FFF2-40B4-BE49-F238E27FC236}">
                    <a16:creationId xmlns="" xmlns:a16="http://schemas.microsoft.com/office/drawing/2014/main" id="{5C38EC93-573F-4A0B-B1B8-A8AE0733A6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2244" y="4119176"/>
                <a:ext cx="76680" cy="7668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Oval 79">
                <a:extLst>
                  <a:ext uri="{FF2B5EF4-FFF2-40B4-BE49-F238E27FC236}">
                    <a16:creationId xmlns="" xmlns:a16="http://schemas.microsoft.com/office/drawing/2014/main" id="{C8421B68-0EBD-45A0-9976-7058852388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70191" y="3883756"/>
                <a:ext cx="73989" cy="7264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cxnSp>
        <p:nvCxnSpPr>
          <p:cNvPr id="236" name="Straight Connector 235">
            <a:extLst>
              <a:ext uri="{FF2B5EF4-FFF2-40B4-BE49-F238E27FC236}">
                <a16:creationId xmlns="" xmlns:a16="http://schemas.microsoft.com/office/drawing/2014/main" id="{7CAA804B-F70E-4EBD-A48C-EAD8A7C82985}"/>
              </a:ext>
            </a:extLst>
          </p:cNvPr>
          <p:cNvCxnSpPr/>
          <p:nvPr/>
        </p:nvCxnSpPr>
        <p:spPr>
          <a:xfrm>
            <a:off x="109432" y="1523003"/>
            <a:ext cx="2983379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49">
            <a:extLst>
              <a:ext uri="{FF2B5EF4-FFF2-40B4-BE49-F238E27FC236}">
                <a16:creationId xmlns="" xmlns:a16="http://schemas.microsoft.com/office/drawing/2014/main" id="{B8316E93-C43C-4EF3-BC37-B11AA7507C97}"/>
              </a:ext>
            </a:extLst>
          </p:cNvPr>
          <p:cNvSpPr txBox="1"/>
          <p:nvPr/>
        </p:nvSpPr>
        <p:spPr>
          <a:xfrm>
            <a:off x="-2319961" y="848424"/>
            <a:ext cx="7895885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fr-FR" sz="3800" b="1" dirty="0" smtClean="0">
                <a:solidFill>
                  <a:srgbClr val="D63A31"/>
                </a:solidFill>
                <a:latin typeface="+mj-lt"/>
              </a:rPr>
              <a:t>Reso</a:t>
            </a:r>
            <a:r>
              <a:rPr lang="fr-FR" sz="3800" b="1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urces</a:t>
            </a:r>
            <a:r>
              <a:rPr lang="en-US" sz="4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endParaRPr lang="id-ID" sz="44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83" name="Freeform: Shape 50">
            <a:extLst>
              <a:ext uri="{FF2B5EF4-FFF2-40B4-BE49-F238E27FC236}">
                <a16:creationId xmlns="" xmlns:a16="http://schemas.microsoft.com/office/drawing/2014/main" id="{7CD51AD5-0DBD-4EE8-8EBF-C29B4D26448B}"/>
              </a:ext>
            </a:extLst>
          </p:cNvPr>
          <p:cNvSpPr/>
          <p:nvPr/>
        </p:nvSpPr>
        <p:spPr>
          <a:xfrm>
            <a:off x="3430911" y="112543"/>
            <a:ext cx="6347812" cy="839713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TextBox 52">
            <a:extLst>
              <a:ext uri="{FF2B5EF4-FFF2-40B4-BE49-F238E27FC236}">
                <a16:creationId xmlns="" xmlns:a16="http://schemas.microsoft.com/office/drawing/2014/main" id="{B0521F56-07AC-43A5-A8B8-E5AA2009C0A4}"/>
              </a:ext>
            </a:extLst>
          </p:cNvPr>
          <p:cNvSpPr txBox="1"/>
          <p:nvPr/>
        </p:nvSpPr>
        <p:spPr>
          <a:xfrm>
            <a:off x="4006443" y="342921"/>
            <a:ext cx="465094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Presentation of project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2689811" y="1875516"/>
            <a:ext cx="5089084" cy="708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 algn="ctr">
              <a:buFont typeface="Wingdings" panose="05000000000000000000" pitchFamily="2" charset="2"/>
              <a:buChar char="ü"/>
            </a:pPr>
            <a:r>
              <a:rPr lang="fr-FR" sz="3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fr-FR" sz="3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umaines</a:t>
            </a:r>
            <a:endParaRPr lang="fr-FR" sz="3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5" name="Tableau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0264917"/>
              </p:ext>
            </p:extLst>
          </p:nvPr>
        </p:nvGraphicFramePr>
        <p:xfrm>
          <a:off x="539782" y="2824092"/>
          <a:ext cx="6234227" cy="3691131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23422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393960">
                <a:tc>
                  <a:txBody>
                    <a:bodyPr/>
                    <a:lstStyle/>
                    <a:p>
                      <a:pPr algn="ctr"/>
                      <a:r>
                        <a:rPr lang="fr-FR" sz="2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oms</a:t>
                      </a:r>
                      <a:r>
                        <a:rPr lang="fr-FR" sz="2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et Prénoms</a:t>
                      </a:r>
                      <a:endParaRPr lang="fr-FR" sz="2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89430">
                <a:tc>
                  <a:txBody>
                    <a:bodyPr/>
                    <a:lstStyle/>
                    <a:p>
                      <a:pPr algn="ctr"/>
                      <a:r>
                        <a:rPr lang="fr-FR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CHOUPOU</a:t>
                      </a:r>
                      <a:r>
                        <a:rPr lang="fr-FR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Clotaire</a:t>
                      </a:r>
                      <a:endParaRPr lang="fr-FR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27847">
                <a:tc>
                  <a:txBody>
                    <a:bodyPr/>
                    <a:lstStyle/>
                    <a:p>
                      <a:pPr algn="ctr"/>
                      <a:r>
                        <a:rPr lang="fr-FR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ATSENING Linda</a:t>
                      </a:r>
                      <a:endParaRPr lang="fr-FR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827847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ADAH Gildas </a:t>
                      </a:r>
                      <a:endParaRPr lang="fr-FR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827847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AMANDJOU Lesly</a:t>
                      </a:r>
                      <a:endParaRPr lang="fr-FR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6" name="Nuage 85"/>
          <p:cNvSpPr/>
          <p:nvPr/>
        </p:nvSpPr>
        <p:spPr>
          <a:xfrm>
            <a:off x="11023718" y="6148200"/>
            <a:ext cx="624943" cy="438760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>
                <a:solidFill>
                  <a:schemeClr val="tx2"/>
                </a:solidFill>
                <a:latin typeface="Gabriola" panose="04040605051002020D02" pitchFamily="82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6787312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6ACA5BE7-658A-44E0-BFCE-A58EFA62F813}"/>
              </a:ext>
            </a:extLst>
          </p:cNvPr>
          <p:cNvSpPr txBox="1"/>
          <p:nvPr/>
        </p:nvSpPr>
        <p:spPr>
          <a:xfrm>
            <a:off x="-739200" y="819548"/>
            <a:ext cx="7117210" cy="4616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000" b="1" dirty="0" smtClean="0">
                <a:solidFill>
                  <a:srgbClr val="D63A31"/>
                </a:solidFill>
                <a:latin typeface="+mj-lt"/>
              </a:rPr>
              <a:t>Planning </a:t>
            </a:r>
            <a:r>
              <a:rPr lang="en-US" sz="3000" b="1" dirty="0" err="1" smtClean="0">
                <a:solidFill>
                  <a:srgbClr val="D63A31"/>
                </a:solidFill>
                <a:latin typeface="+mj-lt"/>
              </a:rPr>
              <a:t>Pré</a:t>
            </a:r>
            <a:r>
              <a:rPr lang="fr-FR" sz="30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visionnel</a:t>
            </a:r>
            <a:endParaRPr lang="fr-FR" sz="30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="" xmlns:a16="http://schemas.microsoft.com/office/drawing/2014/main" id="{F985F10D-9431-4E19-9DD5-E9B5697E333B}"/>
              </a:ext>
            </a:extLst>
          </p:cNvPr>
          <p:cNvSpPr/>
          <p:nvPr/>
        </p:nvSpPr>
        <p:spPr>
          <a:xfrm>
            <a:off x="3640251" y="46899"/>
            <a:ext cx="6347812" cy="839713"/>
          </a:xfrm>
          <a:custGeom>
            <a:avLst/>
            <a:gdLst>
              <a:gd name="connsiteX0" fmla="*/ 482947 w 6362051"/>
              <a:gd name="connsiteY0" fmla="*/ 0 h 965894"/>
              <a:gd name="connsiteX1" fmla="*/ 6362051 w 6362051"/>
              <a:gd name="connsiteY1" fmla="*/ 0 h 965894"/>
              <a:gd name="connsiteX2" fmla="*/ 6362051 w 6362051"/>
              <a:gd name="connsiteY2" fmla="*/ 965894 h 965894"/>
              <a:gd name="connsiteX3" fmla="*/ 482947 w 6362051"/>
              <a:gd name="connsiteY3" fmla="*/ 965893 h 965894"/>
              <a:gd name="connsiteX4" fmla="*/ 9812 w 6362051"/>
              <a:gd name="connsiteY4" fmla="*/ 580277 h 965894"/>
              <a:gd name="connsiteX5" fmla="*/ 0 w 6362051"/>
              <a:gd name="connsiteY5" fmla="*/ 482947 h 965894"/>
              <a:gd name="connsiteX6" fmla="*/ 9812 w 6362051"/>
              <a:gd name="connsiteY6" fmla="*/ 385616 h 965894"/>
              <a:gd name="connsiteX7" fmla="*/ 482947 w 6362051"/>
              <a:gd name="connsiteY7" fmla="*/ 0 h 965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62051" h="965894">
                <a:moveTo>
                  <a:pt x="482947" y="0"/>
                </a:moveTo>
                <a:lnTo>
                  <a:pt x="6362051" y="0"/>
                </a:lnTo>
                <a:lnTo>
                  <a:pt x="6362051" y="965894"/>
                </a:lnTo>
                <a:lnTo>
                  <a:pt x="482947" y="965893"/>
                </a:lnTo>
                <a:cubicBezTo>
                  <a:pt x="249563" y="965893"/>
                  <a:pt x="54845" y="800347"/>
                  <a:pt x="9812" y="580277"/>
                </a:cubicBezTo>
                <a:lnTo>
                  <a:pt x="0" y="482947"/>
                </a:lnTo>
                <a:lnTo>
                  <a:pt x="9812" y="385616"/>
                </a:lnTo>
                <a:cubicBezTo>
                  <a:pt x="54845" y="165546"/>
                  <a:pt x="249563" y="0"/>
                  <a:pt x="4829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34">
            <a:extLst>
              <a:ext uri="{FF2B5EF4-FFF2-40B4-BE49-F238E27FC236}">
                <a16:creationId xmlns="" xmlns:a16="http://schemas.microsoft.com/office/drawing/2014/main" id="{7C8D54A0-F533-42D8-8BE6-4367D7F44298}"/>
              </a:ext>
            </a:extLst>
          </p:cNvPr>
          <p:cNvSpPr txBox="1"/>
          <p:nvPr/>
        </p:nvSpPr>
        <p:spPr>
          <a:xfrm>
            <a:off x="3534772" y="239469"/>
            <a:ext cx="6547652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Réalisation des specifications</a:t>
            </a:r>
            <a:endParaRPr lang="en-US" sz="2800" b="1" dirty="0">
              <a:solidFill>
                <a:schemeClr val="bg1"/>
              </a:solidFill>
              <a:latin typeface="+mj-lt"/>
            </a:endParaRPr>
          </a:p>
          <a:p>
            <a:pPr algn="ctr">
              <a:buClr>
                <a:schemeClr val="accent2"/>
              </a:buClr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Nuage 8"/>
          <p:cNvSpPr/>
          <p:nvPr/>
        </p:nvSpPr>
        <p:spPr>
          <a:xfrm>
            <a:off x="10951030" y="6148200"/>
            <a:ext cx="697632" cy="492086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>
                <a:solidFill>
                  <a:schemeClr val="tx2"/>
                </a:solidFill>
                <a:latin typeface="Gabriola" panose="04040605051002020D02" pitchFamily="82" charset="0"/>
              </a:rPr>
              <a:t>9</a:t>
            </a:r>
          </a:p>
        </p:txBody>
      </p:sp>
      <p:cxnSp>
        <p:nvCxnSpPr>
          <p:cNvPr id="10" name="Straight Connector 235">
            <a:extLst>
              <a:ext uri="{FF2B5EF4-FFF2-40B4-BE49-F238E27FC236}">
                <a16:creationId xmlns="" xmlns:a16="http://schemas.microsoft.com/office/drawing/2014/main" id="{7CAA804B-F70E-4EBD-A48C-EAD8A7C82985}"/>
              </a:ext>
            </a:extLst>
          </p:cNvPr>
          <p:cNvCxnSpPr/>
          <p:nvPr/>
        </p:nvCxnSpPr>
        <p:spPr>
          <a:xfrm>
            <a:off x="478977" y="1281213"/>
            <a:ext cx="4680857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2"/>
          <a:srcRect l="579"/>
          <a:stretch/>
        </p:blipFill>
        <p:spPr>
          <a:xfrm>
            <a:off x="207173" y="1397289"/>
            <a:ext cx="10743858" cy="541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79180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3F3F3F"/>
      </a:dk2>
      <a:lt2>
        <a:srgbClr val="E7E6E6"/>
      </a:lt2>
      <a:accent1>
        <a:srgbClr val="D63A31"/>
      </a:accent1>
      <a:accent2>
        <a:srgbClr val="066F89"/>
      </a:accent2>
      <a:accent3>
        <a:srgbClr val="55B0BD"/>
      </a:accent3>
      <a:accent4>
        <a:srgbClr val="D0D3C4"/>
      </a:accent4>
      <a:accent5>
        <a:srgbClr val="022B30"/>
      </a:accent5>
      <a:accent6>
        <a:srgbClr val="FFC000"/>
      </a:accent6>
      <a:hlink>
        <a:srgbClr val="0563C1"/>
      </a:hlink>
      <a:folHlink>
        <a:srgbClr val="954F72"/>
      </a:folHlink>
    </a:clrScheme>
    <a:fontScheme name="Custom 2">
      <a:majorFont>
        <a:latin typeface="Century Gothic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Custom 1">
      <a:majorFont>
        <a:latin typeface="Century Gothic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60</TotalTime>
  <Words>390</Words>
  <Application>Microsoft Office PowerPoint</Application>
  <PresentationFormat>Grand écran</PresentationFormat>
  <Paragraphs>134</Paragraphs>
  <Slides>23</Slides>
  <Notes>2</Notes>
  <HiddenSlides>0</HiddenSlides>
  <MMClips>0</MMClips>
  <ScaleCrop>false</ScaleCrop>
  <HeadingPairs>
    <vt:vector size="6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23</vt:i4>
      </vt:variant>
    </vt:vector>
  </HeadingPairs>
  <TitlesOfParts>
    <vt:vector size="38" baseType="lpstr">
      <vt:lpstr>Arial</vt:lpstr>
      <vt:lpstr>Baskerville Old Face</vt:lpstr>
      <vt:lpstr>Calibri</vt:lpstr>
      <vt:lpstr>Calibri Light</vt:lpstr>
      <vt:lpstr>Cambria Math</vt:lpstr>
      <vt:lpstr>Century Gothic</vt:lpstr>
      <vt:lpstr>Courier New</vt:lpstr>
      <vt:lpstr>Gabriola</vt:lpstr>
      <vt:lpstr>Georgia</vt:lpstr>
      <vt:lpstr>Segoe UI</vt:lpstr>
      <vt:lpstr>Segoe UI Light</vt:lpstr>
      <vt:lpstr>Times New Roman</vt:lpstr>
      <vt:lpstr>Wingdings</vt:lpstr>
      <vt:lpstr>Office Theme</vt:lpstr>
      <vt:lpstr>1_Office Them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UKOKO</dc:creator>
  <cp:lastModifiedBy>HP</cp:lastModifiedBy>
  <cp:revision>708</cp:revision>
  <dcterms:created xsi:type="dcterms:W3CDTF">2019-04-16T10:19:34Z</dcterms:created>
  <dcterms:modified xsi:type="dcterms:W3CDTF">2020-12-15T21:20:31Z</dcterms:modified>
</cp:coreProperties>
</file>